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63"/>
  </p:notesMasterIdLst>
  <p:sldIdLst>
    <p:sldId id="273" r:id="rId5"/>
    <p:sldId id="258" r:id="rId6"/>
    <p:sldId id="359" r:id="rId7"/>
    <p:sldId id="274" r:id="rId8"/>
    <p:sldId id="282" r:id="rId9"/>
    <p:sldId id="308" r:id="rId10"/>
    <p:sldId id="296" r:id="rId11"/>
    <p:sldId id="295" r:id="rId12"/>
    <p:sldId id="299" r:id="rId13"/>
    <p:sldId id="300" r:id="rId14"/>
    <p:sldId id="307" r:id="rId15"/>
    <p:sldId id="304" r:id="rId16"/>
    <p:sldId id="288" r:id="rId17"/>
    <p:sldId id="309" r:id="rId18"/>
    <p:sldId id="310" r:id="rId19"/>
    <p:sldId id="311" r:id="rId20"/>
    <p:sldId id="298" r:id="rId21"/>
    <p:sldId id="319" r:id="rId22"/>
    <p:sldId id="320" r:id="rId23"/>
    <p:sldId id="321" r:id="rId24"/>
    <p:sldId id="289" r:id="rId25"/>
    <p:sldId id="331" r:id="rId26"/>
    <p:sldId id="332" r:id="rId27"/>
    <p:sldId id="333" r:id="rId28"/>
    <p:sldId id="334" r:id="rId29"/>
    <p:sldId id="335" r:id="rId30"/>
    <p:sldId id="291" r:id="rId31"/>
    <p:sldId id="345" r:id="rId32"/>
    <p:sldId id="350" r:id="rId33"/>
    <p:sldId id="351" r:id="rId34"/>
    <p:sldId id="348" r:id="rId35"/>
    <p:sldId id="352" r:id="rId36"/>
    <p:sldId id="353" r:id="rId37"/>
    <p:sldId id="354" r:id="rId38"/>
    <p:sldId id="355" r:id="rId39"/>
    <p:sldId id="349" r:id="rId40"/>
    <p:sldId id="356" r:id="rId41"/>
    <p:sldId id="347" r:id="rId42"/>
    <p:sldId id="357" r:id="rId43"/>
    <p:sldId id="358" r:id="rId44"/>
    <p:sldId id="361" r:id="rId45"/>
    <p:sldId id="360" r:id="rId46"/>
    <p:sldId id="290" r:id="rId47"/>
    <p:sldId id="336" r:id="rId48"/>
    <p:sldId id="337" r:id="rId49"/>
    <p:sldId id="338" r:id="rId50"/>
    <p:sldId id="339" r:id="rId51"/>
    <p:sldId id="340" r:id="rId52"/>
    <p:sldId id="341" r:id="rId53"/>
    <p:sldId id="342" r:id="rId54"/>
    <p:sldId id="343" r:id="rId55"/>
    <p:sldId id="344" r:id="rId56"/>
    <p:sldId id="329" r:id="rId57"/>
    <p:sldId id="315" r:id="rId58"/>
    <p:sldId id="316" r:id="rId59"/>
    <p:sldId id="317" r:id="rId60"/>
    <p:sldId id="318" r:id="rId61"/>
    <p:sldId id="286" r:id="rId6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60" autoAdjust="0"/>
    <p:restoredTop sz="94660"/>
  </p:normalViewPr>
  <p:slideViewPr>
    <p:cSldViewPr>
      <p:cViewPr varScale="1">
        <p:scale>
          <a:sx n="85" d="100"/>
          <a:sy n="85" d="100"/>
        </p:scale>
        <p:origin x="155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1/2/2020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64DBE-7402-488B-B662-60A15DD400A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073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39356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703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221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698" r:id="rId7"/>
    <p:sldLayoutId id="2147483700" r:id="rId8"/>
    <p:sldLayoutId id="2147483701" r:id="rId9"/>
    <p:sldLayoutId id="2147483702" r:id="rId10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mathbootcamps.com/what-is-a-p-value/" TargetMode="Externa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10" Type="http://schemas.openxmlformats.org/officeDocument/2006/relationships/image" Target="../media/image143.png"/><Relationship Id="rId4" Type="http://schemas.openxmlformats.org/officeDocument/2006/relationships/image" Target="../media/image137.png"/><Relationship Id="rId9" Type="http://schemas.openxmlformats.org/officeDocument/2006/relationships/image" Target="../media/image14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3" Type="http://schemas.openxmlformats.org/officeDocument/2006/relationships/image" Target="../media/image154.png"/><Relationship Id="rId7" Type="http://schemas.openxmlformats.org/officeDocument/2006/relationships/image" Target="../media/image158.png"/><Relationship Id="rId12" Type="http://schemas.openxmlformats.org/officeDocument/2006/relationships/image" Target="../media/image163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7.png"/><Relationship Id="rId11" Type="http://schemas.openxmlformats.org/officeDocument/2006/relationships/image" Target="../media/image162.png"/><Relationship Id="rId5" Type="http://schemas.openxmlformats.org/officeDocument/2006/relationships/image" Target="../media/image156.png"/><Relationship Id="rId10" Type="http://schemas.openxmlformats.org/officeDocument/2006/relationships/image" Target="../media/image161.png"/><Relationship Id="rId4" Type="http://schemas.openxmlformats.org/officeDocument/2006/relationships/image" Target="../media/image155.png"/><Relationship Id="rId9" Type="http://schemas.openxmlformats.org/officeDocument/2006/relationships/image" Target="../media/image16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gi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577" y="1700810"/>
            <a:ext cx="4106623" cy="1872209"/>
          </a:xfrm>
        </p:spPr>
        <p:txBody>
          <a:bodyPr/>
          <a:lstStyle/>
          <a:p>
            <a:br>
              <a:rPr lang="en-US" dirty="0"/>
            </a:br>
            <a:r>
              <a:rPr lang="en-US" dirty="0"/>
              <a:t>Machine Learning: Using Python for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SP XII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an 02, 2020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62" y="580114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Categorical data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76E7452-4159-41AF-81FA-CBBB09D4198F}"/>
              </a:ext>
            </a:extLst>
          </p:cNvPr>
          <p:cNvSpPr txBox="1">
            <a:spLocks/>
          </p:cNvSpPr>
          <p:nvPr/>
        </p:nvSpPr>
        <p:spPr>
          <a:xfrm>
            <a:off x="538962" y="1353438"/>
            <a:ext cx="8406907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In Python, </a:t>
            </a:r>
            <a:r>
              <a:rPr lang="es-CL" kern="0" dirty="0" err="1"/>
              <a:t>we</a:t>
            </a:r>
            <a:r>
              <a:rPr lang="es-CL" kern="0" dirty="0"/>
              <a:t> </a:t>
            </a:r>
            <a:r>
              <a:rPr lang="es-CL" kern="0" dirty="0" err="1"/>
              <a:t>start</a:t>
            </a:r>
            <a:r>
              <a:rPr lang="es-CL" kern="0" dirty="0"/>
              <a:t> </a:t>
            </a:r>
            <a:r>
              <a:rPr lang="es-CL" kern="0" dirty="0" err="1"/>
              <a:t>importing</a:t>
            </a:r>
            <a:r>
              <a:rPr lang="es-CL" kern="0" dirty="0"/>
              <a:t> L</a:t>
            </a:r>
            <a:r>
              <a:rPr lang="en-US" kern="0" dirty="0" err="1"/>
              <a:t>abel</a:t>
            </a:r>
            <a:r>
              <a:rPr lang="en-US" kern="0" dirty="0"/>
              <a:t> Encoder, which  is a Class used for transforming the Country variable to a numerical value. How?</a:t>
            </a:r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50093DF-FA33-41A1-AA0E-9589DD237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2134397"/>
            <a:ext cx="4751217" cy="89745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3E99943-DBD8-4FA3-948D-006CD53E7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400" y="4294485"/>
            <a:ext cx="4177820" cy="89745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1E5A3F9-431A-4D7F-999B-5F158509262D}"/>
              </a:ext>
            </a:extLst>
          </p:cNvPr>
          <p:cNvSpPr txBox="1">
            <a:spLocks/>
          </p:cNvSpPr>
          <p:nvPr/>
        </p:nvSpPr>
        <p:spPr>
          <a:xfrm>
            <a:off x="525515" y="3239914"/>
            <a:ext cx="4145268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Do </a:t>
            </a:r>
            <a:r>
              <a:rPr lang="es-CL" kern="0" dirty="0" err="1"/>
              <a:t>you</a:t>
            </a:r>
            <a:r>
              <a:rPr lang="es-CL" kern="0" dirty="0"/>
              <a:t> </a:t>
            </a:r>
            <a:r>
              <a:rPr lang="es-CL" kern="0" dirty="0" err="1"/>
              <a:t>suspect</a:t>
            </a:r>
            <a:r>
              <a:rPr lang="es-CL" kern="0" dirty="0"/>
              <a:t> </a:t>
            </a:r>
            <a:r>
              <a:rPr lang="es-CL" kern="0" dirty="0" err="1"/>
              <a:t>any</a:t>
            </a:r>
            <a:r>
              <a:rPr lang="es-CL" kern="0" dirty="0"/>
              <a:t> </a:t>
            </a:r>
            <a:r>
              <a:rPr lang="es-CL" kern="0" dirty="0" err="1"/>
              <a:t>problem</a:t>
            </a:r>
            <a:r>
              <a:rPr lang="es-CL" kern="0" dirty="0"/>
              <a:t> </a:t>
            </a:r>
            <a:r>
              <a:rPr lang="es-CL" kern="0" dirty="0" err="1"/>
              <a:t>that</a:t>
            </a:r>
            <a:r>
              <a:rPr lang="es-CL" kern="0" dirty="0"/>
              <a:t> </a:t>
            </a:r>
            <a:r>
              <a:rPr lang="es-CL" kern="0" dirty="0" err="1"/>
              <a:t>could</a:t>
            </a:r>
            <a:r>
              <a:rPr lang="es-CL" kern="0" dirty="0"/>
              <a:t> </a:t>
            </a:r>
            <a:r>
              <a:rPr lang="es-CL" kern="0" dirty="0" err="1"/>
              <a:t>happen</a:t>
            </a:r>
            <a:r>
              <a:rPr lang="es-CL" kern="0" dirty="0"/>
              <a:t> </a:t>
            </a:r>
            <a:r>
              <a:rPr lang="es-CL" kern="0" dirty="0" err="1"/>
              <a:t>with</a:t>
            </a:r>
            <a:r>
              <a:rPr lang="es-CL" kern="0" dirty="0"/>
              <a:t> </a:t>
            </a:r>
            <a:r>
              <a:rPr lang="es-CL" kern="0" dirty="0" err="1"/>
              <a:t>this</a:t>
            </a:r>
            <a:r>
              <a:rPr lang="es-CL" kern="0" dirty="0"/>
              <a:t>?</a:t>
            </a:r>
          </a:p>
          <a:p>
            <a:endParaRPr lang="es-CL" kern="0" dirty="0"/>
          </a:p>
          <a:p>
            <a:r>
              <a:rPr lang="es-CL" kern="0" dirty="0"/>
              <a:t>A </a:t>
            </a:r>
            <a:r>
              <a:rPr lang="es-CL" kern="0" dirty="0" err="1"/>
              <a:t>common</a:t>
            </a:r>
            <a:r>
              <a:rPr lang="es-CL" kern="0" dirty="0"/>
              <a:t> </a:t>
            </a:r>
            <a:r>
              <a:rPr lang="es-CL" kern="0" dirty="0" err="1"/>
              <a:t>solution</a:t>
            </a:r>
            <a:r>
              <a:rPr lang="es-CL" kern="0" dirty="0"/>
              <a:t> is: “The </a:t>
            </a:r>
            <a:r>
              <a:rPr lang="es-CL" kern="0" dirty="0" err="1"/>
              <a:t>Dummy</a:t>
            </a:r>
            <a:r>
              <a:rPr lang="es-CL" kern="0" dirty="0"/>
              <a:t> </a:t>
            </a:r>
            <a:r>
              <a:rPr lang="es-CL" kern="0" dirty="0" err="1"/>
              <a:t>Encoding</a:t>
            </a:r>
            <a:r>
              <a:rPr lang="es-CL" kern="0" dirty="0"/>
              <a:t>”</a:t>
            </a:r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6278197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765" y="524883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Splitting the datase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74810" y="1243857"/>
            <a:ext cx="7568683" cy="1328359"/>
          </a:xfrm>
        </p:spPr>
        <p:txBody>
          <a:bodyPr/>
          <a:lstStyle/>
          <a:p>
            <a:r>
              <a:rPr lang="en-US" dirty="0"/>
              <a:t>The spirit of splitting the dataset is to make possible to </a:t>
            </a:r>
            <a:r>
              <a:rPr lang="en-US" b="1" dirty="0"/>
              <a:t>train</a:t>
            </a:r>
            <a:r>
              <a:rPr lang="en-US" dirty="0"/>
              <a:t> a ML model and  then </a:t>
            </a:r>
            <a:r>
              <a:rPr lang="en-US" b="1" dirty="0"/>
              <a:t>test</a:t>
            </a:r>
            <a:r>
              <a:rPr lang="en-US" dirty="0"/>
              <a:t> its </a:t>
            </a:r>
            <a:r>
              <a:rPr lang="en-US" b="1" dirty="0"/>
              <a:t>accuracy </a:t>
            </a:r>
            <a:r>
              <a:rPr lang="en-US" dirty="0"/>
              <a:t>predicting the value of the </a:t>
            </a:r>
            <a:r>
              <a:rPr lang="en-US" b="1" dirty="0" err="1"/>
              <a:t>dependant</a:t>
            </a:r>
            <a:r>
              <a:rPr lang="en-US" b="1" dirty="0"/>
              <a:t> </a:t>
            </a:r>
            <a:r>
              <a:rPr lang="en-US" dirty="0"/>
              <a:t>variable based on </a:t>
            </a:r>
            <a:r>
              <a:rPr lang="en-US" b="1" dirty="0"/>
              <a:t>predictors</a:t>
            </a:r>
            <a:r>
              <a:rPr lang="en-US" dirty="0"/>
              <a:t>.</a:t>
            </a:r>
            <a:endParaRPr lang="en-US" b="1" dirty="0"/>
          </a:p>
        </p:txBody>
      </p:sp>
      <p:sp>
        <p:nvSpPr>
          <p:cNvPr id="6" name="AutoShape 2" descr="Image result for train and test data joke"/>
          <p:cNvSpPr>
            <a:spLocks noChangeAspect="1" noChangeArrowheads="1"/>
          </p:cNvSpPr>
          <p:nvPr/>
        </p:nvSpPr>
        <p:spPr bwMode="auto">
          <a:xfrm>
            <a:off x="155575" y="-1874838"/>
            <a:ext cx="5143500" cy="390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AD201D0-1859-43B4-9169-BD82AF101A7C}"/>
              </a:ext>
            </a:extLst>
          </p:cNvPr>
          <p:cNvSpPr/>
          <p:nvPr/>
        </p:nvSpPr>
        <p:spPr bwMode="auto">
          <a:xfrm>
            <a:off x="1981198" y="4839056"/>
            <a:ext cx="5181602" cy="13716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plitting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the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Python is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traightforward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u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r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are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ther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ay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(K-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olding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ootstrapping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).</a:t>
            </a:r>
          </a:p>
          <a:p>
            <a:pPr algn="l"/>
            <a:endParaRPr lang="es-CL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Be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ur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to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ak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n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hones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ssessmen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  <a:endParaRPr lang="en-US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F073A12-D5BE-48F3-9091-2C046D2F4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8654" y="1800818"/>
            <a:ext cx="6256495" cy="291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6248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L" sz="1400" dirty="0" err="1"/>
              <a:t>What</a:t>
            </a:r>
            <a:r>
              <a:rPr lang="es-CL" sz="1400" dirty="0"/>
              <a:t> </a:t>
            </a:r>
            <a:r>
              <a:rPr lang="es-CL" sz="1400" dirty="0" err="1"/>
              <a:t>happens</a:t>
            </a:r>
            <a:r>
              <a:rPr lang="es-CL" sz="1400" dirty="0"/>
              <a:t> </a:t>
            </a:r>
            <a:r>
              <a:rPr lang="es-CL" sz="1400" dirty="0" err="1"/>
              <a:t>if</a:t>
            </a:r>
            <a:r>
              <a:rPr lang="es-CL" sz="1400" dirty="0"/>
              <a:t> </a:t>
            </a:r>
            <a:r>
              <a:rPr lang="es-CL" sz="1400" dirty="0" err="1"/>
              <a:t>we</a:t>
            </a:r>
            <a:r>
              <a:rPr lang="es-CL" sz="1400" dirty="0"/>
              <a:t> </a:t>
            </a:r>
            <a:r>
              <a:rPr lang="es-CL" sz="1400" dirty="0" err="1"/>
              <a:t>have</a:t>
            </a:r>
            <a:r>
              <a:rPr lang="es-CL" sz="1400" dirty="0"/>
              <a:t> </a:t>
            </a:r>
            <a:r>
              <a:rPr lang="es-CL" sz="1400" dirty="0" err="1"/>
              <a:t>two</a:t>
            </a:r>
            <a:r>
              <a:rPr lang="es-CL" sz="1400" dirty="0"/>
              <a:t> col</a:t>
            </a:r>
            <a:r>
              <a:rPr lang="en-US" sz="1400" dirty="0" err="1"/>
              <a:t>umns</a:t>
            </a:r>
            <a:r>
              <a:rPr lang="en-US" sz="1400" dirty="0"/>
              <a:t> with different level of numerical values?</a:t>
            </a:r>
          </a:p>
          <a:p>
            <a:r>
              <a:rPr lang="en-US" sz="1400" dirty="0"/>
              <a:t>Example: Age and Salary</a:t>
            </a:r>
          </a:p>
          <a:p>
            <a:endParaRPr lang="es-CL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B562BC-2E5E-4E3A-BB4B-26B759EBE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161" y="566676"/>
            <a:ext cx="8072438" cy="70961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Feature Scaling</a:t>
            </a:r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9BE6C8E-502D-42FE-84C5-194CC3C81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161" y="2015646"/>
            <a:ext cx="2592478" cy="164827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7B84EB0-16F0-4EDB-8BD9-5F92011B4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8272" y="1857747"/>
            <a:ext cx="3719547" cy="162087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F1D091B-D90C-4AEA-87D6-BAC15E8F9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077" y="4663366"/>
            <a:ext cx="4671195" cy="1524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AD1B76-DEFB-4796-A5A6-413C41545137}"/>
              </a:ext>
            </a:extLst>
          </p:cNvPr>
          <p:cNvSpPr txBox="1">
            <a:spLocks/>
          </p:cNvSpPr>
          <p:nvPr/>
        </p:nvSpPr>
        <p:spPr>
          <a:xfrm>
            <a:off x="554615" y="3973167"/>
            <a:ext cx="3026785" cy="1041588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 err="1"/>
              <a:t>But</a:t>
            </a:r>
            <a:r>
              <a:rPr lang="es-CL" sz="1400" kern="0" dirty="0"/>
              <a:t>… </a:t>
            </a:r>
            <a:r>
              <a:rPr lang="es-CL" sz="1400" kern="0" dirty="0" err="1"/>
              <a:t>What</a:t>
            </a:r>
            <a:r>
              <a:rPr lang="es-CL" sz="1400" kern="0" dirty="0"/>
              <a:t> </a:t>
            </a:r>
            <a:r>
              <a:rPr lang="es-CL" sz="1400" kern="0" dirty="0" err="1"/>
              <a:t>could</a:t>
            </a:r>
            <a:r>
              <a:rPr lang="es-CL" sz="1400" kern="0" dirty="0"/>
              <a:t> </a:t>
            </a:r>
            <a:r>
              <a:rPr lang="es-CL" sz="1400" kern="0" dirty="0" err="1"/>
              <a:t>happen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interpretation</a:t>
            </a:r>
            <a:r>
              <a:rPr lang="es-CL" sz="1400" kern="0" dirty="0"/>
              <a:t>?</a:t>
            </a:r>
          </a:p>
          <a:p>
            <a:r>
              <a:rPr lang="es-CL" sz="1400" kern="0" dirty="0" err="1"/>
              <a:t>What</a:t>
            </a:r>
            <a:r>
              <a:rPr lang="es-CL" sz="1400" kern="0" dirty="0"/>
              <a:t> ar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main</a:t>
            </a:r>
            <a:r>
              <a:rPr lang="es-CL" sz="1400" kern="0" dirty="0"/>
              <a:t> </a:t>
            </a:r>
            <a:r>
              <a:rPr lang="es-CL" sz="1400" kern="0" dirty="0" err="1"/>
              <a:t>advantages</a:t>
            </a:r>
            <a:r>
              <a:rPr lang="es-CL" sz="1400" kern="0" dirty="0"/>
              <a:t>?</a:t>
            </a:r>
            <a:endParaRPr lang="en-US" sz="1400" kern="0" dirty="0"/>
          </a:p>
          <a:p>
            <a:endParaRPr lang="es-CL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570E1C6-365D-45D8-813D-AA8CE19F4F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9422" y="3413638"/>
            <a:ext cx="2043736" cy="1044576"/>
          </a:xfrm>
          <a:prstGeom prst="rect">
            <a:avLst/>
          </a:prstGeom>
        </p:spPr>
      </p:pic>
      <p:sp>
        <p:nvSpPr>
          <p:cNvPr id="14" name="Flecha: a la derecha 13">
            <a:extLst>
              <a:ext uri="{FF2B5EF4-FFF2-40B4-BE49-F238E27FC236}">
                <a16:creationId xmlns:a16="http://schemas.microsoft.com/office/drawing/2014/main" id="{65505AF6-146C-4875-800F-71181EE3D543}"/>
              </a:ext>
            </a:extLst>
          </p:cNvPr>
          <p:cNvSpPr/>
          <p:nvPr/>
        </p:nvSpPr>
        <p:spPr bwMode="auto">
          <a:xfrm>
            <a:off x="5447509" y="3889488"/>
            <a:ext cx="263371" cy="157855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1FF70127-E7F5-4B24-8BB4-A848ADCA44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626" y="3455093"/>
            <a:ext cx="2043737" cy="1048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96366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7994847" cy="4894961"/>
          </a:xfrm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8D9FC0-20E2-4E53-B6C8-2302D874B7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5029200" y="2151761"/>
            <a:ext cx="3733800" cy="33528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How an analyst can use it</a:t>
            </a:r>
          </a:p>
          <a:p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Even though the Simple and Multiple Regressions are not widely applied on Business Cases, they are often considered the first type of models to start learning from.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Useful for simple datasets and examples.</a:t>
            </a:r>
          </a:p>
        </p:txBody>
      </p:sp>
      <p:sp>
        <p:nvSpPr>
          <p:cNvPr id="6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533400" y="1541015"/>
            <a:ext cx="4267200" cy="441399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Description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/>
              <a:t>By definition and simplicity,  Regression for Numerical data is considered the base lesson for dealing with models. </a:t>
            </a:r>
          </a:p>
          <a:p>
            <a:endParaRPr lang="en-US" sz="1400" dirty="0"/>
          </a:p>
          <a:p>
            <a:r>
              <a:rPr lang="en-US" sz="1400" dirty="0"/>
              <a:t>Consists on defining a dependent variable (Y) which value can be obtained from the formula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F0F87B5F-F8AC-4CC7-BE00-AA98730BFFBE}"/>
              </a:ext>
            </a:extLst>
          </p:cNvPr>
          <p:cNvSpPr txBox="1">
            <a:spLocks/>
          </p:cNvSpPr>
          <p:nvPr/>
        </p:nvSpPr>
        <p:spPr>
          <a:xfrm>
            <a:off x="539553" y="522563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63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327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491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6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/>
              <a:t>Linear and Multiple Regression</a:t>
            </a:r>
            <a:br>
              <a:rPr lang="en-US" b="1" kern="0" dirty="0"/>
            </a:br>
            <a:endParaRPr lang="en-US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BDA24D72-51E3-4F1A-92C0-C6DD053632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4661130"/>
            <a:ext cx="1809750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30268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Simple Linear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egress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50E3066-1D03-48E1-9AEE-B0FFC807D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523648"/>
            <a:ext cx="5353050" cy="16383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C439146-3FA7-45D0-A3D2-7E3CADBB0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2940" y="2490350"/>
            <a:ext cx="1795812" cy="81754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11F10918-708C-4C96-80E7-00C21655C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2209" y="2537800"/>
            <a:ext cx="2241404" cy="78028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D844AE0-28B8-4182-86B7-D371FD3AD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6351" y="1424333"/>
            <a:ext cx="1628775" cy="66675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349D6C9-63B9-4004-8F62-B449C631FF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49153" y="1475372"/>
            <a:ext cx="1234389" cy="666750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439B87BF-53C3-45A7-A160-AC9B7D39BA0B}"/>
              </a:ext>
            </a:extLst>
          </p:cNvPr>
          <p:cNvSpPr/>
          <p:nvPr/>
        </p:nvSpPr>
        <p:spPr>
          <a:xfrm>
            <a:off x="5792209" y="2026982"/>
            <a:ext cx="17257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 Error</a:t>
            </a:r>
            <a:endParaRPr lang="es-ES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727FE50A-4809-43A1-848F-4F91690122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4634" y="3429000"/>
            <a:ext cx="4880984" cy="2272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0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662" y="1884841"/>
            <a:ext cx="2867025" cy="93345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0DBF2F85-BE75-407E-BF50-E253DDBD7551}"/>
              </a:ext>
            </a:extLst>
          </p:cNvPr>
          <p:cNvSpPr/>
          <p:nvPr/>
        </p:nvSpPr>
        <p:spPr bwMode="auto">
          <a:xfrm>
            <a:off x="4416425" y="136761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06A3562-14C3-48A5-85B8-3CF969FA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4279518"/>
            <a:ext cx="4010025" cy="904875"/>
          </a:xfrm>
          <a:prstGeom prst="rect">
            <a:avLst/>
          </a:prstGeom>
        </p:spPr>
      </p:pic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800600" y="3781844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981097" y="1050778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057400" y="3427866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" grpId="0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4880" y="58270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5317670" y="2326949"/>
            <a:ext cx="3678657" cy="11041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L</a:t>
            </a:r>
            <a:r>
              <a:rPr lang="en-US" sz="1200" kern="0" dirty="0" err="1"/>
              <a:t>et’s</a:t>
            </a:r>
            <a:r>
              <a:rPr lang="en-US" sz="1200" kern="0" dirty="0"/>
              <a:t> talk a little bit about the parameters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fit_intercept</a:t>
            </a:r>
            <a:r>
              <a:rPr lang="en-US" sz="1200" kern="0" dirty="0"/>
              <a:t>: When shall we use it?</a:t>
            </a:r>
          </a:p>
          <a:p>
            <a:pPr algn="just"/>
            <a:r>
              <a:rPr lang="en-US" sz="1200" kern="0" dirty="0"/>
              <a:t>-normalize: What does this mean?</a:t>
            </a:r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n_jobs</a:t>
            </a:r>
            <a:r>
              <a:rPr lang="en-US" sz="1200" kern="0" dirty="0"/>
              <a:t>: This could optimize the process. Why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8E658D7-FDE0-4E5D-B982-6D28060D06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312" y="1380185"/>
            <a:ext cx="7134225" cy="769534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73387259-88E1-4C47-B962-70CEB80EB642}"/>
              </a:ext>
            </a:extLst>
          </p:cNvPr>
          <p:cNvSpPr/>
          <p:nvPr/>
        </p:nvSpPr>
        <p:spPr>
          <a:xfrm>
            <a:off x="155575" y="130328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4FA3CC4-FD9F-453E-ADC5-E2F9E63BB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50" y="2485128"/>
            <a:ext cx="4408431" cy="787788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A78EBD9B-11F2-4F0D-A95A-E8547138700B}"/>
              </a:ext>
            </a:extLst>
          </p:cNvPr>
          <p:cNvSpPr/>
          <p:nvPr/>
        </p:nvSpPr>
        <p:spPr>
          <a:xfrm>
            <a:off x="155575" y="2349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6C68E2D5-D8CE-4483-AFF9-DFC87E48A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678" y="3493250"/>
            <a:ext cx="4057650" cy="466725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0E94490-7EB2-43B2-B873-248A146D0AB7}"/>
              </a:ext>
            </a:extLst>
          </p:cNvPr>
          <p:cNvSpPr/>
          <p:nvPr/>
        </p:nvSpPr>
        <p:spPr>
          <a:xfrm>
            <a:off x="5386299" y="4383345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67612F12-4199-4E51-8D9B-72B82FC38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5155" y="3614336"/>
            <a:ext cx="934513" cy="2549249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A6BEE094-4B37-441D-B1B8-A399A246A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710" y="3614336"/>
            <a:ext cx="1000505" cy="2549249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5A3163C-ADE7-484A-94B1-D112BCFCF779}"/>
              </a:ext>
            </a:extLst>
          </p:cNvPr>
          <p:cNvSpPr/>
          <p:nvPr/>
        </p:nvSpPr>
        <p:spPr>
          <a:xfrm>
            <a:off x="128945" y="3236008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47ECC9F-6CB1-4F22-88E8-94429B528F7B}"/>
              </a:ext>
            </a:extLst>
          </p:cNvPr>
          <p:cNvSpPr/>
          <p:nvPr/>
        </p:nvSpPr>
        <p:spPr>
          <a:xfrm>
            <a:off x="6840244" y="4383345"/>
            <a:ext cx="633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'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CD8BD60E-FD54-43B4-A26D-0A492294F3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0943" y="4400511"/>
            <a:ext cx="2381845" cy="161107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454C6958-3FFA-4764-A5E0-FCAA1DDD52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2788" y="4398772"/>
            <a:ext cx="2381846" cy="16110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FD8439E0-BD52-47B4-9FE5-0A1C6D0EA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391" y="4169888"/>
            <a:ext cx="3551375" cy="2072325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5C608908-6DE1-452C-B797-E1BCAAD080A3}"/>
              </a:ext>
            </a:extLst>
          </p:cNvPr>
          <p:cNvSpPr/>
          <p:nvPr/>
        </p:nvSpPr>
        <p:spPr>
          <a:xfrm>
            <a:off x="155575" y="472171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71739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/>
      <p:bldP spid="26" grpId="0"/>
      <p:bldP spid="29" grpId="0"/>
      <p:bldP spid="33" grpId="0"/>
      <p:bldP spid="34" grpId="0"/>
      <p:bldP spid="3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220A3-DFB7-4102-9BCE-448475277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28628"/>
            <a:ext cx="8229600" cy="360074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8C2A674-2966-4691-BB35-9547D6D28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56" y="1637929"/>
            <a:ext cx="8906644" cy="368141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ED8B103-50B4-440A-BDC4-8175C7716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141" y="1296670"/>
            <a:ext cx="8279882" cy="409207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233826A-8F2E-44FB-A7C4-96B9C80D94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2400" y="1066800"/>
            <a:ext cx="2971800" cy="3189692"/>
          </a:xfrm>
          <a:prstGeom prst="rect">
            <a:avLst/>
          </a:prstGeom>
        </p:spPr>
      </p:pic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43FB8969-4193-4907-91DD-66F21F3A9980}"/>
              </a:ext>
            </a:extLst>
          </p:cNvPr>
          <p:cNvSpPr/>
          <p:nvPr/>
        </p:nvSpPr>
        <p:spPr bwMode="auto">
          <a:xfrm>
            <a:off x="355082" y="5276818"/>
            <a:ext cx="2616718" cy="9895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the Dummy Variable Trap, and how to avoid it?</a:t>
            </a:r>
          </a:p>
          <a:p>
            <a:pPr algn="just"/>
            <a:r>
              <a:rPr lang="en-US" sz="1400" kern="0" dirty="0"/>
              <a:t>Hint: Multicollinearit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: esquinas redondeadas 4">
            <a:extLst>
              <a:ext uri="{FF2B5EF4-FFF2-40B4-BE49-F238E27FC236}">
                <a16:creationId xmlns:a16="http://schemas.microsoft.com/office/drawing/2014/main" id="{B98C16B0-F232-4769-8F9C-A0F5C2032D4F}"/>
              </a:ext>
            </a:extLst>
          </p:cNvPr>
          <p:cNvSpPr/>
          <p:nvPr/>
        </p:nvSpPr>
        <p:spPr bwMode="auto">
          <a:xfrm>
            <a:off x="3154467" y="5214572"/>
            <a:ext cx="5893318" cy="72277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P-value? </a:t>
            </a:r>
            <a:r>
              <a:rPr lang="en-US" sz="1400" dirty="0">
                <a:hlinkClick r:id="rId6"/>
              </a:rPr>
              <a:t>https://www.mathbootcamps.com/what-is-a-p-value/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F7DAC8AD-B4AC-4BC5-B068-A9E0007B874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Multiple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Linear Regress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988" y="1421574"/>
            <a:ext cx="2867025" cy="93345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4" y="144400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773622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E52A2B9-3C51-4207-ABE7-515B8D70F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88" y="2765139"/>
            <a:ext cx="4152900" cy="9620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01EC6C7-0660-44EE-B373-AAD67DF8B9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385" y="1364498"/>
            <a:ext cx="3987113" cy="236266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6BEDAAD-D390-4397-8C6E-B1BB0FDDD3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21" y="4331887"/>
            <a:ext cx="4693693" cy="1235272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4456573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0635BBFC-DC35-40A3-85E1-2259E22790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9407" y="3986795"/>
            <a:ext cx="3451091" cy="182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3" y="147307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698696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3784238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56B123C-D189-44C3-B2A4-A6283BE48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909" y="1580659"/>
            <a:ext cx="7383891" cy="78667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1DDB0DB-2E05-4638-A5FE-9DD128604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20" y="2722128"/>
            <a:ext cx="4945491" cy="91440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41E4C5A8-8B6F-44CD-9564-8BA0B2FE8386}"/>
              </a:ext>
            </a:extLst>
          </p:cNvPr>
          <p:cNvSpPr/>
          <p:nvPr/>
        </p:nvSpPr>
        <p:spPr bwMode="auto">
          <a:xfrm>
            <a:off x="5976285" y="2474622"/>
            <a:ext cx="2895600" cy="12917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Do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any</a:t>
            </a:r>
            <a:r>
              <a:rPr lang="es-CL" sz="1400" kern="0" dirty="0"/>
              <a:t> </a:t>
            </a:r>
            <a:r>
              <a:rPr lang="es-CL" sz="1400" kern="0" dirty="0" err="1"/>
              <a:t>similarity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SLR?</a:t>
            </a:r>
          </a:p>
          <a:p>
            <a:pPr algn="just"/>
            <a:endParaRPr lang="es-CL" sz="1400" kern="0" dirty="0"/>
          </a:p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us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feature</a:t>
            </a:r>
            <a:r>
              <a:rPr lang="es-CL" sz="1400" kern="0" dirty="0"/>
              <a:t> </a:t>
            </a:r>
            <a:r>
              <a:rPr lang="es-CL" sz="1400" kern="0" dirty="0" err="1"/>
              <a:t>selection</a:t>
            </a:r>
            <a:r>
              <a:rPr lang="es-CL" sz="1400" kern="0" dirty="0"/>
              <a:t> </a:t>
            </a:r>
            <a:r>
              <a:rPr lang="es-CL" sz="1400" kern="0" dirty="0" err="1"/>
              <a:t>cod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1BD8A4B-5942-477C-9B66-3923E202C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909" y="3909959"/>
            <a:ext cx="3505200" cy="676275"/>
          </a:xfrm>
          <a:prstGeom prst="rect">
            <a:avLst/>
          </a:prstGeom>
        </p:spPr>
      </p:pic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F19954E-FA22-4CC9-90D1-909997B885FD}"/>
              </a:ext>
            </a:extLst>
          </p:cNvPr>
          <p:cNvSpPr/>
          <p:nvPr/>
        </p:nvSpPr>
        <p:spPr bwMode="auto">
          <a:xfrm>
            <a:off x="950120" y="5055721"/>
            <a:ext cx="3418829" cy="83099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the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use a </a:t>
            </a:r>
            <a:r>
              <a:rPr lang="es-CL" sz="1400" kern="0" dirty="0" err="1"/>
              <a:t>visualization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compare </a:t>
            </a:r>
            <a:r>
              <a:rPr lang="es-CL" sz="1400" kern="0" dirty="0" err="1"/>
              <a:t>y_test</a:t>
            </a:r>
            <a:r>
              <a:rPr lang="es-CL" sz="1400" kern="0" dirty="0"/>
              <a:t> (y)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y_pred</a:t>
            </a:r>
            <a:r>
              <a:rPr lang="es-CL" sz="1400" kern="0" dirty="0"/>
              <a:t> (y’)?</a:t>
            </a:r>
            <a:endParaRPr lang="en-US" sz="1400" kern="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DF5468B-3189-4FBF-9E05-25DF91CBF9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1200" y="3909959"/>
            <a:ext cx="819789" cy="20752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C5BA1893-5166-4549-BC0E-142C9C2B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3277" y="3909959"/>
            <a:ext cx="823248" cy="2075272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963D3F64-C381-4E92-A800-1525B233257C}"/>
              </a:ext>
            </a:extLst>
          </p:cNvPr>
          <p:cNvSpPr/>
          <p:nvPr/>
        </p:nvSpPr>
        <p:spPr>
          <a:xfrm>
            <a:off x="4891271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C437AEA9-964F-4797-AE79-86FD91540748}"/>
              </a:ext>
            </a:extLst>
          </p:cNvPr>
          <p:cNvSpPr/>
          <p:nvPr/>
        </p:nvSpPr>
        <p:spPr>
          <a:xfrm>
            <a:off x="6725756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’</a:t>
            </a:r>
          </a:p>
        </p:txBody>
      </p:sp>
    </p:spTree>
    <p:extLst>
      <p:ext uri="{BB962C8B-B14F-4D97-AF65-F5344CB8AC3E}">
        <p14:creationId xmlns:p14="http://schemas.microsoft.com/office/powerpoint/2010/main" val="280094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  <p:bldP spid="19" grpId="0" animBg="1"/>
      <p:bldP spid="21" grpId="0" animBg="1"/>
      <p:bldP spid="22" grpId="0"/>
      <p:bldP spid="2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/>
              <a:t> /  evalueserve.com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5660251"/>
              </p:ext>
            </p:extLst>
          </p:nvPr>
        </p:nvGraphicFramePr>
        <p:xfrm>
          <a:off x="525545" y="1600200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</a:t>
                      </a:r>
                      <a:r>
                        <a:rPr lang="en-US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ecap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ata Preprocessing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imple and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ultiple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Linear Regression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Logistic Regressi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Clustering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526311"/>
              </p:ext>
            </p:extLst>
          </p:nvPr>
        </p:nvGraphicFramePr>
        <p:xfrm>
          <a:off x="457200" y="4269470"/>
          <a:ext cx="4231541" cy="533854"/>
        </p:xfrm>
        <a:graphic>
          <a:graphicData uri="http://schemas.openxmlformats.org/drawingml/2006/table">
            <a:tbl>
              <a:tblPr firstRow="1" bandRow="1"/>
              <a:tblGrid>
                <a:gridCol w="601679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28059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501803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Bonus: </a:t>
                      </a:r>
                      <a:r>
                        <a:rPr lang="es-CL" sz="1300" b="0" kern="12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Decision</a:t>
                      </a: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 </a:t>
                      </a:r>
                      <a:r>
                        <a:rPr lang="es-CL" sz="1300" b="0" kern="12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Trees</a:t>
                      </a: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 and </a:t>
                      </a:r>
                      <a:r>
                        <a:rPr lang="es-CL" sz="1300" b="0" kern="12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andom</a:t>
                      </a: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 </a:t>
                      </a:r>
                      <a:r>
                        <a:rPr lang="es-CL" sz="1300" b="0" kern="12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Forests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14338" name="Picture 2" descr="Image result for data preprocessing meme">
            <a:extLst>
              <a:ext uri="{FF2B5EF4-FFF2-40B4-BE49-F238E27FC236}">
                <a16:creationId xmlns:a16="http://schemas.microsoft.com/office/drawing/2014/main" id="{E263BB6C-7D4A-4987-A90A-76BA23242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82" y="1437508"/>
            <a:ext cx="1981200" cy="1991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 result for baby yoda">
            <a:extLst>
              <a:ext uri="{FF2B5EF4-FFF2-40B4-BE49-F238E27FC236}">
                <a16:creationId xmlns:a16="http://schemas.microsoft.com/office/drawing/2014/main" id="{0899330D-1AF0-4E84-BAAD-ACDB3E306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3761642"/>
            <a:ext cx="2511425" cy="188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A200BDE2-2C27-4C22-BB24-2749ED965F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087077"/>
              </p:ext>
            </p:extLst>
          </p:nvPr>
        </p:nvGraphicFramePr>
        <p:xfrm>
          <a:off x="525545" y="481228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6967283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577075966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52982254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Bonus: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odel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election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Algorithms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965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lassificat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echnique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4" name="Estrella: 8 puntas 3">
            <a:extLst>
              <a:ext uri="{FF2B5EF4-FFF2-40B4-BE49-F238E27FC236}">
                <a16:creationId xmlns:a16="http://schemas.microsoft.com/office/drawing/2014/main" id="{2BB8CEA0-5A5E-4B75-A9CB-EB3BFA451795}"/>
              </a:ext>
            </a:extLst>
          </p:cNvPr>
          <p:cNvSpPr/>
          <p:nvPr/>
        </p:nvSpPr>
        <p:spPr bwMode="auto">
          <a:xfrm>
            <a:off x="6374881" y="1839299"/>
            <a:ext cx="2057400" cy="1752600"/>
          </a:xfrm>
          <a:prstGeom prst="star8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s-CL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#</a:t>
            </a:r>
            <a:endParaRPr lang="en-US" sz="48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02219DF-A61E-4FAB-834A-B8AEB05CDE09}"/>
              </a:ext>
            </a:extLst>
          </p:cNvPr>
          <p:cNvSpPr/>
          <p:nvPr/>
        </p:nvSpPr>
        <p:spPr>
          <a:xfrm>
            <a:off x="762000" y="2188521"/>
            <a:ext cx="414728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Regression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5" name="Flecha: a la derecha 14">
            <a:extLst>
              <a:ext uri="{FF2B5EF4-FFF2-40B4-BE49-F238E27FC236}">
                <a16:creationId xmlns:a16="http://schemas.microsoft.com/office/drawing/2014/main" id="{74D97DC6-F567-43FA-9C77-037C09E11F82}"/>
              </a:ext>
            </a:extLst>
          </p:cNvPr>
          <p:cNvSpPr/>
          <p:nvPr/>
        </p:nvSpPr>
        <p:spPr bwMode="auto">
          <a:xfrm>
            <a:off x="5152881" y="2473283"/>
            <a:ext cx="978408" cy="484632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7290C26F-AB78-40AF-80B5-982EE6A6DCE3}"/>
              </a:ext>
            </a:extLst>
          </p:cNvPr>
          <p:cNvSpPr/>
          <p:nvPr/>
        </p:nvSpPr>
        <p:spPr>
          <a:xfrm>
            <a:off x="390298" y="4001054"/>
            <a:ext cx="487825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Classification</a:t>
            </a:r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2" name="Flecha: a la derecha 21">
            <a:extLst>
              <a:ext uri="{FF2B5EF4-FFF2-40B4-BE49-F238E27FC236}">
                <a16:creationId xmlns:a16="http://schemas.microsoft.com/office/drawing/2014/main" id="{250B14BA-B0A8-4EB1-8526-63B4154AC4DA}"/>
              </a:ext>
            </a:extLst>
          </p:cNvPr>
          <p:cNvSpPr/>
          <p:nvPr/>
        </p:nvSpPr>
        <p:spPr bwMode="auto">
          <a:xfrm>
            <a:off x="5152881" y="4254512"/>
            <a:ext cx="978408" cy="484632"/>
          </a:xfrm>
          <a:prstGeom prst="rightArrow">
            <a:avLst/>
          </a:prstGeom>
          <a:solidFill>
            <a:schemeClr val="accent3"/>
          </a:solidFill>
          <a:ln>
            <a:solidFill>
              <a:schemeClr val="accent3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solidFill>
                <a:schemeClr val="accent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Pergamino: vertical 17">
            <a:extLst>
              <a:ext uri="{FF2B5EF4-FFF2-40B4-BE49-F238E27FC236}">
                <a16:creationId xmlns:a16="http://schemas.microsoft.com/office/drawing/2014/main" id="{EA308BD4-44CA-4086-A7B8-3ADE691B9B19}"/>
              </a:ext>
            </a:extLst>
          </p:cNvPr>
          <p:cNvSpPr/>
          <p:nvPr/>
        </p:nvSpPr>
        <p:spPr bwMode="auto">
          <a:xfrm>
            <a:off x="6449159" y="3844313"/>
            <a:ext cx="1908843" cy="1503654"/>
          </a:xfrm>
          <a:prstGeom prst="verticalScroll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ctr"/>
            <a:r>
              <a:rPr lang="es-CL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</a:t>
            </a:r>
            <a:endParaRPr lang="en-US" sz="48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8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7994847" cy="4894961"/>
          </a:xfrm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8D9FC0-20E2-4E53-B6C8-2302D874B7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5074024" y="2129349"/>
            <a:ext cx="3733800" cy="33528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How an analyst can use it</a:t>
            </a:r>
          </a:p>
          <a:p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By default, this technique is used for almost 80% of Business Cases for two main reasons: 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Even though its formulation is not quite simple, it is understandable and can deal with any type of data. 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And it is stable. The real precision tends to be near from the base logistic regression model.</a:t>
            </a:r>
          </a:p>
        </p:txBody>
      </p:sp>
      <p:sp>
        <p:nvSpPr>
          <p:cNvPr id="6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539553" y="1524000"/>
            <a:ext cx="4267200" cy="441399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Description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/>
              <a:t>This model consists on dealing with the Odds probabilities on a formula which can deal not only with numerical, but also categorical data. 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By default, the formula is: 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1 Título">
            <a:extLst>
              <a:ext uri="{FF2B5EF4-FFF2-40B4-BE49-F238E27FC236}">
                <a16:creationId xmlns:a16="http://schemas.microsoft.com/office/drawing/2014/main" id="{F20F00D9-2916-4494-8DBE-006640BFF989}"/>
              </a:ext>
            </a:extLst>
          </p:cNvPr>
          <p:cNvSpPr txBox="1">
            <a:spLocks/>
          </p:cNvSpPr>
          <p:nvPr/>
        </p:nvSpPr>
        <p:spPr>
          <a:xfrm>
            <a:off x="539553" y="544721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63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327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491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6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b="1" kern="0" dirty="0"/>
              <a:t>Logistic Regression</a:t>
            </a:r>
            <a:br>
              <a:rPr lang="en-US" b="1" kern="0" dirty="0"/>
            </a:br>
            <a:endParaRPr lang="en-US" kern="0" dirty="0"/>
          </a:p>
        </p:txBody>
      </p:sp>
      <p:pic>
        <p:nvPicPr>
          <p:cNvPr id="18436" name="Picture 4" descr="Image result for logistic regression formula">
            <a:extLst>
              <a:ext uri="{FF2B5EF4-FFF2-40B4-BE49-F238E27FC236}">
                <a16:creationId xmlns:a16="http://schemas.microsoft.com/office/drawing/2014/main" id="{B7846F7B-93B6-4C8F-9177-3EF5CA105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4678468"/>
            <a:ext cx="3449452" cy="57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901494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75F9274-1B98-4DAD-87C1-59E92F8FB0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AFDAB-1344-4A60-A53D-7C3130060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F849F5C-ADC2-4CB7-B42B-D75B03FC77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800" y="1752598"/>
            <a:ext cx="3744676" cy="266700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A0EAA0A5-38DD-4827-AE0A-E82FC465C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729" y="1752597"/>
            <a:ext cx="3754351" cy="2590803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8F9DAA8-8B0B-4A2B-8213-C2DFF336F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729" y="1752597"/>
            <a:ext cx="3836667" cy="2667002"/>
          </a:xfrm>
          <a:prstGeom prst="rect">
            <a:avLst/>
          </a:prstGeom>
        </p:spPr>
      </p:pic>
      <p:sp>
        <p:nvSpPr>
          <p:cNvPr id="12" name="Title 6">
            <a:extLst>
              <a:ext uri="{FF2B5EF4-FFF2-40B4-BE49-F238E27FC236}">
                <a16:creationId xmlns:a16="http://schemas.microsoft.com/office/drawing/2014/main" id="{0910A507-1E32-4557-98E5-8E6A014EB74B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Logistic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egress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B5816C64-E934-4E16-8BAA-67CA816F13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4491" y="1714497"/>
            <a:ext cx="3864430" cy="266700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26B36952-F908-419F-BD80-26559A80CD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231" y="1779780"/>
            <a:ext cx="4199256" cy="3687719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CC217093-C490-464D-94E0-727A47E4A9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4491" y="1390501"/>
            <a:ext cx="3783477" cy="479686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871513CA-27CB-45C1-B77E-8CEFC54CF3C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28" t="727" r="14696"/>
          <a:stretch/>
        </p:blipFill>
        <p:spPr>
          <a:xfrm>
            <a:off x="99355" y="1424639"/>
            <a:ext cx="8356081" cy="4728588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565F8372-A80A-4039-9CD4-12290FFB4B1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528" t="723" r="16703"/>
          <a:stretch/>
        </p:blipFill>
        <p:spPr>
          <a:xfrm>
            <a:off x="0" y="1458778"/>
            <a:ext cx="8614443" cy="4690184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D3D0EB4C-CD16-472D-AAF4-768A05EE914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65" r="5927"/>
          <a:stretch/>
        </p:blipFill>
        <p:spPr>
          <a:xfrm>
            <a:off x="0" y="1231041"/>
            <a:ext cx="8602026" cy="495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7779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75F9274-1B98-4DAD-87C1-59E92F8FB0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AFDAB-1344-4A60-A53D-7C3130060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0910A507-1E32-4557-98E5-8E6A014EB74B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Logistic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egres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: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sideratio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79F4DB2-6C0D-4DD7-AB13-986A7E31AA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0" y="2757280"/>
            <a:ext cx="4991100" cy="21050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E6252E5-2B11-4398-9C3B-A2E28554CD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875" y="1633607"/>
            <a:ext cx="6572250" cy="433514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C1F2DDA-3AA0-40E8-8849-E7BEC7FC3F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00" y="1793938"/>
            <a:ext cx="7828828" cy="44696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90A61B6-0C28-4172-A4EC-D085AD214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772" y="1662655"/>
            <a:ext cx="8438428" cy="423940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806DA19C-50FF-4420-BE39-20FC34B318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823" y="1371600"/>
            <a:ext cx="7934325" cy="4841401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D3585D1A-E447-4003-A0E9-675D96DA43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44945"/>
            <a:ext cx="9144000" cy="5018593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64D5108F-8CC7-4B5F-A30E-CE7A5841F1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7811" y="3231100"/>
            <a:ext cx="4444348" cy="2754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5247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4225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Logistic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4" y="1367616"/>
            <a:ext cx="2867025" cy="99898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6321" y="1458685"/>
            <a:ext cx="398983" cy="7095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3377938" y="1459724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17DAD85-B188-4110-8AFD-D2580162A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9812" y="1366344"/>
            <a:ext cx="5211763" cy="99898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300D43AF-2233-4F1C-A8B9-46DF23C30B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4" y="2512479"/>
            <a:ext cx="8448871" cy="810883"/>
          </a:xfrm>
          <a:prstGeom prst="rect">
            <a:avLst/>
          </a:prstGeom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2A09135B-21F1-40F7-AC00-4ED5AC0C5BFD}"/>
              </a:ext>
            </a:extLst>
          </p:cNvPr>
          <p:cNvSpPr/>
          <p:nvPr/>
        </p:nvSpPr>
        <p:spPr>
          <a:xfrm>
            <a:off x="133065" y="251703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0ADFEDA-EB97-44E9-88B4-C21D8A2C5E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4" y="3385927"/>
            <a:ext cx="4393393" cy="1017262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E67EE3AD-38BA-4E83-9D1E-8AA4CFBE1951}"/>
              </a:ext>
            </a:extLst>
          </p:cNvPr>
          <p:cNvSpPr/>
          <p:nvPr/>
        </p:nvSpPr>
        <p:spPr>
          <a:xfrm>
            <a:off x="133065" y="3554996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62605CC7-D53D-44FE-B501-26D75B631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6263" y="3385926"/>
            <a:ext cx="3905311" cy="2777045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0BE099BB-E026-42EF-9993-1D31B3A7BC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8754" y="3388158"/>
            <a:ext cx="1770645" cy="2774813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0E89FA46-B1E5-4049-BE78-30434018C3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4554" y="4501632"/>
            <a:ext cx="4319201" cy="896644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8E500D1E-93F2-4FB4-B4EF-45E4B9B1FFB8}"/>
              </a:ext>
            </a:extLst>
          </p:cNvPr>
          <p:cNvSpPr/>
          <p:nvPr/>
        </p:nvSpPr>
        <p:spPr>
          <a:xfrm>
            <a:off x="106619" y="4440498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5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5D0DF702-8526-40D7-85E8-8362B32F2B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554" y="5515272"/>
            <a:ext cx="4304201" cy="647700"/>
          </a:xfrm>
          <a:prstGeom prst="rect">
            <a:avLst/>
          </a:prstGeom>
        </p:spPr>
      </p:pic>
      <p:sp>
        <p:nvSpPr>
          <p:cNvPr id="27" name="Rectángulo 26">
            <a:extLst>
              <a:ext uri="{FF2B5EF4-FFF2-40B4-BE49-F238E27FC236}">
                <a16:creationId xmlns:a16="http://schemas.microsoft.com/office/drawing/2014/main" id="{595770EC-6656-4EB7-BFAD-D899211B9982}"/>
              </a:ext>
            </a:extLst>
          </p:cNvPr>
          <p:cNvSpPr/>
          <p:nvPr/>
        </p:nvSpPr>
        <p:spPr>
          <a:xfrm>
            <a:off x="100545" y="532123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8817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7" grpId="0"/>
      <p:bldP spid="20" grpId="0"/>
      <p:bldP spid="26" grpId="0"/>
      <p:bldP spid="2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7518" y="54116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Logistic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3567" y="1821555"/>
            <a:ext cx="398983" cy="7095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7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6482BAA-2DBB-4A00-ABBC-2DC92B5BE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550" y="1673591"/>
            <a:ext cx="5295900" cy="933450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3F76F312-CE63-4EFE-92C2-7887966BB8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585" y="2933912"/>
            <a:ext cx="8027437" cy="3063908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FABA1549-08D8-4B59-80B9-3E7174E066AB}"/>
              </a:ext>
            </a:extLst>
          </p:cNvPr>
          <p:cNvSpPr/>
          <p:nvPr/>
        </p:nvSpPr>
        <p:spPr>
          <a:xfrm>
            <a:off x="185603" y="4111105"/>
            <a:ext cx="398983" cy="7095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8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FC854F8C-AF4A-41CE-B66D-B62C21EA3C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3941" y="2933913"/>
            <a:ext cx="4928723" cy="3063908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D8C4D7AA-AEA7-4B58-B366-BD6F6A3B33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583" y="2933911"/>
            <a:ext cx="8027437" cy="3063908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AFEAB85D-F06C-4242-B2FF-70796DFA35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1336" y="2933912"/>
            <a:ext cx="4928723" cy="3170466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C6E9D4EA-DF68-4926-9548-F26CD3EAAF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8237" y="1668127"/>
            <a:ext cx="2571750" cy="92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3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00B5A250-1140-4237-9853-0C4B68641B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87BD40B-31CB-42D1-8925-77293D899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2297C6C-B6F5-4F44-86AE-E7965858E2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80" y="1524000"/>
            <a:ext cx="7887401" cy="4663381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6538057-149A-49A4-B9CE-A661A0A8FAF4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473113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Evaluating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odel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Performance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8240F07-1609-4A4C-8221-28CC488977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360" y="1229271"/>
            <a:ext cx="7914921" cy="495811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B890C10-1D76-4AFD-BE65-6EF306A176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360" y="1229271"/>
            <a:ext cx="7887401" cy="466338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EDDCA1F-F15D-4EB6-A4F2-8FDD1741A8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439" y="1229271"/>
            <a:ext cx="8072469" cy="49394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8160254-7BB3-4CF2-8C31-F89127DD41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7333" y="1332658"/>
            <a:ext cx="7842268" cy="4934445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5581329D-126E-4314-A89C-68F0568221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3800" y="3537339"/>
            <a:ext cx="4114800" cy="2546655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3B15385F-4793-4749-BC1E-4D96015EE6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4172" y="1229271"/>
            <a:ext cx="7541218" cy="503783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7B575407-FE8B-4B83-A031-9E90811001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72199" y="3242610"/>
            <a:ext cx="2897155" cy="228273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C8BE64F7-CCB7-4F52-A6CB-01B938A617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7360" y="1371837"/>
            <a:ext cx="8551994" cy="4876605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5008A40-4DAD-4242-83FD-38300225D13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4880" y="1462939"/>
            <a:ext cx="8446720" cy="432826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E9CD1B1E-13B8-4CE5-B685-15D66CB1A83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540" y="1184205"/>
            <a:ext cx="9011814" cy="5003175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514FCAF3-06FF-44D1-9A7A-767186451A8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1218862"/>
            <a:ext cx="8991600" cy="500317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17A737E5-7B67-4083-9F7E-0502AA98C1C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73" y="1214464"/>
            <a:ext cx="9144000" cy="4957703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CE2F755E-2AED-473C-B12B-B1EF362D028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7303" y="1320661"/>
            <a:ext cx="8604267" cy="4880029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25411F76-D7CA-4808-B1D4-8D8DE84981C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87333" y="1229271"/>
            <a:ext cx="8484228" cy="4854723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F9A718EC-E214-4219-9F01-FB512531BBD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09601" y="1371837"/>
            <a:ext cx="8459754" cy="4813956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98D0CE5-5768-4933-B25A-115D5CD96D1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96240" y="1543523"/>
            <a:ext cx="8795360" cy="4579650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F592971F-3840-4AEC-86AB-3629260EA4D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9579" y="1410553"/>
            <a:ext cx="8116527" cy="4742158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FDFDDBA7-8378-40BA-8BDB-A196FDD6752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26266" y="1263206"/>
            <a:ext cx="8626640" cy="511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0427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7994847" cy="4894961"/>
          </a:xfrm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8D9FC0-20E2-4E53-B6C8-2302D874B7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4965181" y="1905000"/>
            <a:ext cx="4038600" cy="331969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How an analyst can use it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Clusters essentially breaks a complex problem up into much smaller manageable pieces where a human can then easily identify the underlying pattern. 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In marketing, clusters are nearly always called segments, which is a popular application of the clustering technique.</a:t>
            </a:r>
          </a:p>
        </p:txBody>
      </p:sp>
      <p:sp>
        <p:nvSpPr>
          <p:cNvPr id="6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539553" y="1284712"/>
            <a:ext cx="4267200" cy="489496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Description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/>
              <a:t>Cluster detection is simply the automation of finding meaningful patterns within a data set. </a:t>
            </a:r>
          </a:p>
          <a:p>
            <a:endParaRPr lang="en-US" sz="1400" dirty="0"/>
          </a:p>
          <a:p>
            <a:r>
              <a:rPr lang="en-US" sz="1400" dirty="0"/>
              <a:t>Often the problem in data mining is not a lack of patterns but identifying which patterns are useful amongst the noise of possibly hundreds of competing patterns within the data. </a:t>
            </a:r>
          </a:p>
          <a:p>
            <a:endParaRPr lang="en-US" sz="1400" dirty="0"/>
          </a:p>
          <a:p>
            <a:r>
              <a:rPr lang="en-US" sz="1400" dirty="0"/>
              <a:t>These techniques penetrate this noise by finding clusters of data that form natural groupings within the data set. </a:t>
            </a:r>
          </a:p>
          <a:p>
            <a:endParaRPr lang="en-US" sz="1400" dirty="0"/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After clusters have been detected, they are often themselves the object of study.</a:t>
            </a:r>
          </a:p>
          <a:p>
            <a:endParaRPr lang="en-US" sz="1400" dirty="0"/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1 Título">
            <a:extLst>
              <a:ext uri="{FF2B5EF4-FFF2-40B4-BE49-F238E27FC236}">
                <a16:creationId xmlns:a16="http://schemas.microsoft.com/office/drawing/2014/main" id="{BC36D896-FDC5-4FE6-B611-C0CB1E399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3" y="575191"/>
            <a:ext cx="8072469" cy="709521"/>
          </a:xfrm>
        </p:spPr>
        <p:txBody>
          <a:bodyPr/>
          <a:lstStyle/>
          <a:p>
            <a:r>
              <a:rPr lang="en-US" b="1" dirty="0"/>
              <a:t>Clustering</a:t>
            </a:r>
            <a:endParaRPr lang="en-US" dirty="0"/>
          </a:p>
        </p:txBody>
      </p:sp>
      <p:pic>
        <p:nvPicPr>
          <p:cNvPr id="20482" name="Picture 2" descr="Image result for Clustering">
            <a:extLst>
              <a:ext uri="{FF2B5EF4-FFF2-40B4-BE49-F238E27FC236}">
                <a16:creationId xmlns:a16="http://schemas.microsoft.com/office/drawing/2014/main" id="{40A381F6-A79D-48E7-9BA7-D6DEA2476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071" y="1676400"/>
            <a:ext cx="1892393" cy="130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053207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8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Cluster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13B33E33-8CBC-4D6C-8F18-514D2CA17882}"/>
              </a:ext>
            </a:extLst>
          </p:cNvPr>
          <p:cNvSpPr/>
          <p:nvPr/>
        </p:nvSpPr>
        <p:spPr bwMode="auto">
          <a:xfrm>
            <a:off x="1985487" y="1562980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/>
              <a:t>Similar </a:t>
            </a:r>
            <a:r>
              <a:rPr lang="es-CL" sz="1600" kern="0" dirty="0" err="1"/>
              <a:t>to</a:t>
            </a:r>
            <a:r>
              <a:rPr lang="es-CL" sz="1600" kern="0" dirty="0"/>
              <a:t> </a:t>
            </a:r>
            <a:r>
              <a:rPr lang="es-CL" sz="1600" kern="0" dirty="0" err="1"/>
              <a:t>Classification</a:t>
            </a:r>
            <a:r>
              <a:rPr lang="es-CL" sz="1600" kern="0" dirty="0"/>
              <a:t>, </a:t>
            </a:r>
            <a:r>
              <a:rPr lang="es-CL" sz="1600" kern="0" dirty="0" err="1"/>
              <a:t>but</a:t>
            </a:r>
            <a:r>
              <a:rPr lang="es-CL" sz="1600" kern="0" dirty="0"/>
              <a:t> </a:t>
            </a:r>
            <a:r>
              <a:rPr lang="es-CL" sz="1600" kern="0" dirty="0" err="1"/>
              <a:t>with</a:t>
            </a:r>
            <a:r>
              <a:rPr lang="es-CL" sz="1600" kern="0" dirty="0"/>
              <a:t> a </a:t>
            </a:r>
            <a:r>
              <a:rPr lang="es-CL" sz="1600" kern="0" dirty="0" err="1"/>
              <a:t>different</a:t>
            </a:r>
            <a:r>
              <a:rPr lang="es-CL" sz="1600" kern="0" dirty="0"/>
              <a:t> </a:t>
            </a:r>
            <a:r>
              <a:rPr lang="es-CL" sz="1600" kern="0" dirty="0" err="1"/>
              <a:t>basis</a:t>
            </a:r>
            <a:endParaRPr lang="en-US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9AEA6751-F005-4D35-A4B3-E3FE04733D43}"/>
              </a:ext>
            </a:extLst>
          </p:cNvPr>
          <p:cNvSpPr/>
          <p:nvPr/>
        </p:nvSpPr>
        <p:spPr bwMode="auto">
          <a:xfrm>
            <a:off x="1997928" y="2475585"/>
            <a:ext cx="5160585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In Clustering: What are you looking for?</a:t>
            </a:r>
            <a:endParaRPr lang="en-US" kern="0" dirty="0"/>
          </a:p>
          <a:p>
            <a:pPr algn="just"/>
            <a:endParaRPr lang="en-US" sz="1400" kern="0" dirty="0"/>
          </a:p>
        </p:txBody>
      </p:sp>
      <p:pic>
        <p:nvPicPr>
          <p:cNvPr id="15362" name="Picture 2" descr="Image result for clustering">
            <a:extLst>
              <a:ext uri="{FF2B5EF4-FFF2-40B4-BE49-F238E27FC236}">
                <a16:creationId xmlns:a16="http://schemas.microsoft.com/office/drawing/2014/main" id="{235F144D-DFA3-4387-B3FF-63ED91592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34" y="3655661"/>
            <a:ext cx="3616866" cy="248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B2433DD4-24B0-4540-9E2A-439D860C7AA7}"/>
              </a:ext>
            </a:extLst>
          </p:cNvPr>
          <p:cNvSpPr/>
          <p:nvPr/>
        </p:nvSpPr>
        <p:spPr bwMode="auto">
          <a:xfrm>
            <a:off x="5159524" y="3902624"/>
            <a:ext cx="3454919" cy="178935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oday, we will be talking about:</a:t>
            </a:r>
          </a:p>
          <a:p>
            <a:pPr algn="just"/>
            <a:endParaRPr lang="en-US" sz="1600" kern="0" dirty="0"/>
          </a:p>
          <a:p>
            <a:pPr algn="just"/>
            <a:r>
              <a:rPr lang="en-US" sz="1600" kern="0" dirty="0"/>
              <a:t>-K-Means</a:t>
            </a:r>
          </a:p>
          <a:p>
            <a:pPr algn="just"/>
            <a:r>
              <a:rPr lang="en-US" sz="1600" kern="0" dirty="0"/>
              <a:t>-Hierarchical Clustering</a:t>
            </a:r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27178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2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A22CD86-C29F-4DEF-9CF1-1C2D2E3CA5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37FC170-6E7F-4835-AEDD-7C03E7258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E93B45D-ABFC-4259-87AB-737337954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3012" y="1708662"/>
            <a:ext cx="6657975" cy="3971925"/>
          </a:xfrm>
          <a:prstGeom prst="rect">
            <a:avLst/>
          </a:prstGeom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5C79AB7A-E903-49CA-BBA0-0C0AE33E04F3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Euclidia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istance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39269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EE2653"/>
                </a:solidFill>
                <a:latin typeface="Arial" panose="020B0604020202020204"/>
              </a:rPr>
              <a:t>Recap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" name="Picture 2" descr="https://cdn-images-1.medium.com/max/1600/1*H9eMNh36H1gGJXNOxjaeBw.png">
            <a:extLst>
              <a:ext uri="{FF2B5EF4-FFF2-40B4-BE49-F238E27FC236}">
                <a16:creationId xmlns:a16="http://schemas.microsoft.com/office/drawing/2014/main" id="{10CDAC27-8F8F-4A57-8A25-4461213C9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saturation sat="10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1783" y="1549868"/>
            <a:ext cx="4060284" cy="39257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4C756128-440E-4CA2-9D53-A503BA858DEF}"/>
              </a:ext>
            </a:extLst>
          </p:cNvPr>
          <p:cNvSpPr/>
          <p:nvPr/>
        </p:nvSpPr>
        <p:spPr>
          <a:xfrm>
            <a:off x="535072" y="1357957"/>
            <a:ext cx="4798928" cy="318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How would you define Machine Learning?</a:t>
            </a:r>
            <a:endParaRPr lang="en-US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7E46678-2A2D-402A-87DF-56556336305C}"/>
              </a:ext>
            </a:extLst>
          </p:cNvPr>
          <p:cNvSpPr/>
          <p:nvPr/>
        </p:nvSpPr>
        <p:spPr>
          <a:xfrm>
            <a:off x="544036" y="1967412"/>
            <a:ext cx="2757486" cy="318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What is a labeled training set?</a:t>
            </a:r>
            <a:endParaRPr lang="en-US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03EED8E-F5EC-4079-BC2C-CE41DAE08EC8}"/>
              </a:ext>
            </a:extLst>
          </p:cNvPr>
          <p:cNvSpPr/>
          <p:nvPr/>
        </p:nvSpPr>
        <p:spPr>
          <a:xfrm>
            <a:off x="511716" y="2504467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Would you frame the problem of spam detection as a supervised learning problem or an unsupervised learning problem?</a:t>
            </a:r>
            <a:endParaRPr lang="en-US" sz="1400" dirty="0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AE3A874-B807-4AB5-AC8F-F03998648177}"/>
              </a:ext>
            </a:extLst>
          </p:cNvPr>
          <p:cNvSpPr/>
          <p:nvPr/>
        </p:nvSpPr>
        <p:spPr>
          <a:xfrm>
            <a:off x="532428" y="3429000"/>
            <a:ext cx="4572000" cy="56675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What type of algorithm would you use to segment your customers into multiple groups?</a:t>
            </a:r>
            <a:endParaRPr lang="en-US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905B7911-6506-425A-9D88-D1301EC3D475}"/>
              </a:ext>
            </a:extLst>
          </p:cNvPr>
          <p:cNvSpPr/>
          <p:nvPr/>
        </p:nvSpPr>
        <p:spPr>
          <a:xfrm>
            <a:off x="511716" y="4286935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If your model performs great on the training data but generalizes poorly to new instances, what is happening? </a:t>
            </a:r>
            <a:endParaRPr lang="en-US" sz="1400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B1D2C77-1025-4B09-8CB1-986813E7B574}"/>
              </a:ext>
            </a:extLst>
          </p:cNvPr>
          <p:cNvSpPr/>
          <p:nvPr/>
        </p:nvSpPr>
        <p:spPr>
          <a:xfrm>
            <a:off x="511716" y="5209823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What is a test set and why would you want to use it?</a:t>
            </a:r>
            <a:endParaRPr lang="en-US" sz="1400" dirty="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A017F50-3514-4C97-8D47-7D10B1F89352}"/>
              </a:ext>
            </a:extLst>
          </p:cNvPr>
          <p:cNvSpPr/>
          <p:nvPr/>
        </p:nvSpPr>
        <p:spPr>
          <a:xfrm>
            <a:off x="508880" y="5855522"/>
            <a:ext cx="35605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ea typeface="Arial" panose="020B0604020202020204" pitchFamily="34" charset="0"/>
              </a:rPr>
              <a:t>What is the purpose of a validation set?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3166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3" grpId="0"/>
      <p:bldP spid="16" grpId="0"/>
      <p:bldP spid="17" grpId="0"/>
      <p:bldP spid="18" grpId="0"/>
      <p:bldP spid="1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88E4F19-AC43-42D6-A74B-17766E2A4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257" y="1394667"/>
            <a:ext cx="7968343" cy="169481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32DB770B-5B67-401D-8F98-7853A1BE72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257" y="3213920"/>
            <a:ext cx="2728913" cy="25233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B5E7AAC-7C59-4FEB-B79C-BFE7C1D84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257" y="3043284"/>
            <a:ext cx="7358747" cy="288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5080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0" name="Rectángulo: esquinas redondeadas 4">
            <a:extLst>
              <a:ext uri="{FF2B5EF4-FFF2-40B4-BE49-F238E27FC236}">
                <a16:creationId xmlns:a16="http://schemas.microsoft.com/office/drawing/2014/main" id="{2F01CF8F-FA17-4FD4-9F30-98341DA83188}"/>
              </a:ext>
            </a:extLst>
          </p:cNvPr>
          <p:cNvSpPr/>
          <p:nvPr/>
        </p:nvSpPr>
        <p:spPr bwMode="auto">
          <a:xfrm>
            <a:off x="930168" y="2129917"/>
            <a:ext cx="42672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Choos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number</a:t>
            </a:r>
            <a:r>
              <a:rPr lang="es-CL" sz="1400" kern="0" dirty="0"/>
              <a:t> K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clusters</a:t>
            </a:r>
            <a:endParaRPr lang="en-US" sz="1400" kern="0" dirty="0"/>
          </a:p>
        </p:txBody>
      </p:sp>
      <p:sp>
        <p:nvSpPr>
          <p:cNvPr id="21" name="Rectángulo 1">
            <a:extLst>
              <a:ext uri="{FF2B5EF4-FFF2-40B4-BE49-F238E27FC236}">
                <a16:creationId xmlns:a16="http://schemas.microsoft.com/office/drawing/2014/main" id="{94E51C27-8604-40F6-AF0B-5814768A3B63}"/>
              </a:ext>
            </a:extLst>
          </p:cNvPr>
          <p:cNvSpPr/>
          <p:nvPr/>
        </p:nvSpPr>
        <p:spPr>
          <a:xfrm>
            <a:off x="295452" y="2033537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F9A7716D-E104-4489-9D25-ABD730A1E9BC}"/>
              </a:ext>
            </a:extLst>
          </p:cNvPr>
          <p:cNvSpPr/>
          <p:nvPr/>
        </p:nvSpPr>
        <p:spPr bwMode="auto">
          <a:xfrm>
            <a:off x="930168" y="3045041"/>
            <a:ext cx="548996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Select</a:t>
            </a:r>
            <a:r>
              <a:rPr lang="es-CL" sz="1400" kern="0" dirty="0"/>
              <a:t> at </a:t>
            </a:r>
            <a:r>
              <a:rPr lang="es-CL" sz="1400" kern="0" dirty="0" err="1"/>
              <a:t>random</a:t>
            </a:r>
            <a:r>
              <a:rPr lang="es-CL" sz="1400" kern="0" dirty="0"/>
              <a:t> K </a:t>
            </a:r>
            <a:r>
              <a:rPr lang="es-CL" sz="1400" kern="0" dirty="0" err="1"/>
              <a:t>points</a:t>
            </a:r>
            <a:r>
              <a:rPr lang="es-CL" sz="1400" kern="0" dirty="0"/>
              <a:t>,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entroids</a:t>
            </a:r>
            <a:r>
              <a:rPr lang="es-CL" sz="1400" kern="0" dirty="0"/>
              <a:t> </a:t>
            </a:r>
            <a:endParaRPr lang="en-US" sz="1400" kern="0" dirty="0"/>
          </a:p>
        </p:txBody>
      </p:sp>
      <p:sp>
        <p:nvSpPr>
          <p:cNvPr id="23" name="Rectángulo 1">
            <a:extLst>
              <a:ext uri="{FF2B5EF4-FFF2-40B4-BE49-F238E27FC236}">
                <a16:creationId xmlns:a16="http://schemas.microsoft.com/office/drawing/2014/main" id="{37C1FAA8-B444-45C4-9E52-D6901B82A7CF}"/>
              </a:ext>
            </a:extLst>
          </p:cNvPr>
          <p:cNvSpPr/>
          <p:nvPr/>
        </p:nvSpPr>
        <p:spPr>
          <a:xfrm>
            <a:off x="291742" y="2951988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24" name="Rectángulo: esquinas redondeadas 4">
            <a:extLst>
              <a:ext uri="{FF2B5EF4-FFF2-40B4-BE49-F238E27FC236}">
                <a16:creationId xmlns:a16="http://schemas.microsoft.com/office/drawing/2014/main" id="{8BB2684D-53DF-42B5-9D09-3223E63475E9}"/>
              </a:ext>
            </a:extLst>
          </p:cNvPr>
          <p:cNvSpPr/>
          <p:nvPr/>
        </p:nvSpPr>
        <p:spPr bwMode="auto">
          <a:xfrm>
            <a:off x="930168" y="3918578"/>
            <a:ext cx="5429041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Assign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entroid</a:t>
            </a:r>
            <a:r>
              <a:rPr lang="es-CL" sz="1400" kern="0" dirty="0"/>
              <a:t> (</a:t>
            </a:r>
            <a:r>
              <a:rPr lang="es-CL" sz="1400" kern="0" dirty="0" err="1"/>
              <a:t>forming</a:t>
            </a:r>
            <a:r>
              <a:rPr lang="es-CL" sz="1400" kern="0" dirty="0"/>
              <a:t> K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5" name="Rectángulo 1">
            <a:extLst>
              <a:ext uri="{FF2B5EF4-FFF2-40B4-BE49-F238E27FC236}">
                <a16:creationId xmlns:a16="http://schemas.microsoft.com/office/drawing/2014/main" id="{A20E9F00-E37E-4E38-8EBC-2AE5D9EF656F}"/>
              </a:ext>
            </a:extLst>
          </p:cNvPr>
          <p:cNvSpPr/>
          <p:nvPr/>
        </p:nvSpPr>
        <p:spPr>
          <a:xfrm>
            <a:off x="291742" y="3810231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6" name="Rectángulo: esquinas redondeadas 4">
            <a:extLst>
              <a:ext uri="{FF2B5EF4-FFF2-40B4-BE49-F238E27FC236}">
                <a16:creationId xmlns:a16="http://schemas.microsoft.com/office/drawing/2014/main" id="{24863FF4-8DE3-4E5B-8465-B4315E147274}"/>
              </a:ext>
            </a:extLst>
          </p:cNvPr>
          <p:cNvSpPr/>
          <p:nvPr/>
        </p:nvSpPr>
        <p:spPr bwMode="auto">
          <a:xfrm>
            <a:off x="930168" y="5609104"/>
            <a:ext cx="5851632" cy="66709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eassign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new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entroid</a:t>
            </a:r>
            <a:r>
              <a:rPr lang="es-CL" sz="1400" kern="0" dirty="0"/>
              <a:t> and </a:t>
            </a:r>
            <a:r>
              <a:rPr lang="es-CL" sz="1400" kern="0" dirty="0" err="1"/>
              <a:t>go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step 4 (</a:t>
            </a:r>
            <a:r>
              <a:rPr lang="es-CL" sz="1400" kern="0" dirty="0" err="1"/>
              <a:t>if</a:t>
            </a:r>
            <a:r>
              <a:rPr lang="es-CL" sz="1400" kern="0" dirty="0"/>
              <a:t> </a:t>
            </a:r>
            <a:r>
              <a:rPr lang="es-CL" sz="1400" kern="0" dirty="0" err="1"/>
              <a:t>there</a:t>
            </a:r>
            <a:r>
              <a:rPr lang="es-CL" sz="1400" kern="0" dirty="0"/>
              <a:t> is </a:t>
            </a:r>
            <a:r>
              <a:rPr lang="es-CL" sz="1400" kern="0" dirty="0" err="1"/>
              <a:t>not</a:t>
            </a:r>
            <a:r>
              <a:rPr lang="es-CL" sz="1400" kern="0" dirty="0"/>
              <a:t> a </a:t>
            </a:r>
            <a:r>
              <a:rPr lang="es-CL" sz="1400" kern="0" dirty="0" err="1"/>
              <a:t>reassignment</a:t>
            </a:r>
            <a:r>
              <a:rPr lang="es-CL" sz="1400" kern="0" dirty="0"/>
              <a:t>, </a:t>
            </a:r>
            <a:r>
              <a:rPr lang="es-CL" sz="1400" kern="0" dirty="0" err="1"/>
              <a:t>finis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oces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7" name="Rectángulo 1">
            <a:extLst>
              <a:ext uri="{FF2B5EF4-FFF2-40B4-BE49-F238E27FC236}">
                <a16:creationId xmlns:a16="http://schemas.microsoft.com/office/drawing/2014/main" id="{2D46BD48-8CE5-4224-BC2E-4BA4D0D76B9B}"/>
              </a:ext>
            </a:extLst>
          </p:cNvPr>
          <p:cNvSpPr/>
          <p:nvPr/>
        </p:nvSpPr>
        <p:spPr>
          <a:xfrm>
            <a:off x="288181" y="4628802"/>
            <a:ext cx="498855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0A06A63-006E-4B47-968E-3DE7005A5B74}"/>
              </a:ext>
            </a:extLst>
          </p:cNvPr>
          <p:cNvSpPr/>
          <p:nvPr/>
        </p:nvSpPr>
        <p:spPr>
          <a:xfrm>
            <a:off x="252915" y="1325651"/>
            <a:ext cx="628409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he</a:t>
            </a:r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</a:t>
            </a:r>
            <a:r>
              <a:rPr lang="es-ES" sz="40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lgorith</a:t>
            </a:r>
            <a:r>
              <a:rPr lang="es-ES" sz="40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</a:t>
            </a:r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40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works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9" name="Rectángulo: esquinas redondeadas 4">
            <a:extLst>
              <a:ext uri="{FF2B5EF4-FFF2-40B4-BE49-F238E27FC236}">
                <a16:creationId xmlns:a16="http://schemas.microsoft.com/office/drawing/2014/main" id="{76087E33-440F-4D61-AF42-20ED93D27A26}"/>
              </a:ext>
            </a:extLst>
          </p:cNvPr>
          <p:cNvSpPr/>
          <p:nvPr/>
        </p:nvSpPr>
        <p:spPr bwMode="auto">
          <a:xfrm>
            <a:off x="930168" y="4762558"/>
            <a:ext cx="409903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Compute a place a new </a:t>
            </a:r>
            <a:r>
              <a:rPr lang="es-CL" sz="1400" kern="0" dirty="0" err="1"/>
              <a:t>centroid</a:t>
            </a:r>
            <a:r>
              <a:rPr lang="es-CL" sz="1400" kern="0" dirty="0"/>
              <a:t> for </a:t>
            </a:r>
            <a:r>
              <a:rPr lang="es-CL" sz="1400" kern="0" dirty="0" err="1"/>
              <a:t>each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sp>
        <p:nvSpPr>
          <p:cNvPr id="30" name="Rectángulo 1">
            <a:extLst>
              <a:ext uri="{FF2B5EF4-FFF2-40B4-BE49-F238E27FC236}">
                <a16:creationId xmlns:a16="http://schemas.microsoft.com/office/drawing/2014/main" id="{90FB4D07-BF5F-4AAE-9005-4BC0C5F1138D}"/>
              </a:ext>
            </a:extLst>
          </p:cNvPr>
          <p:cNvSpPr/>
          <p:nvPr/>
        </p:nvSpPr>
        <p:spPr>
          <a:xfrm>
            <a:off x="288180" y="5517249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2" name="Flecha: doblada 31">
            <a:extLst>
              <a:ext uri="{FF2B5EF4-FFF2-40B4-BE49-F238E27FC236}">
                <a16:creationId xmlns:a16="http://schemas.microsoft.com/office/drawing/2014/main" id="{C2D2C223-21C6-4932-95F2-12598FB98495}"/>
              </a:ext>
            </a:extLst>
          </p:cNvPr>
          <p:cNvSpPr/>
          <p:nvPr/>
        </p:nvSpPr>
        <p:spPr bwMode="auto">
          <a:xfrm rot="21423606">
            <a:off x="118076" y="4928463"/>
            <a:ext cx="269675" cy="1237579"/>
          </a:xfrm>
          <a:prstGeom prst="ben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198BABAE-574F-46B8-BB6D-C5C1AFBCD53A}"/>
              </a:ext>
            </a:extLst>
          </p:cNvPr>
          <p:cNvSpPr/>
          <p:nvPr/>
        </p:nvSpPr>
        <p:spPr bwMode="auto">
          <a:xfrm>
            <a:off x="6600087" y="2042243"/>
            <a:ext cx="1613745" cy="101380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Let’s</a:t>
            </a:r>
            <a:r>
              <a:rPr lang="es-CL" sz="1400" kern="0" dirty="0"/>
              <a:t> </a:t>
            </a:r>
            <a:r>
              <a:rPr lang="es-CL" sz="1400" kern="0" dirty="0" err="1"/>
              <a:t>cover</a:t>
            </a:r>
            <a:r>
              <a:rPr lang="es-CL" sz="1400" kern="0" dirty="0"/>
              <a:t> </a:t>
            </a:r>
            <a:r>
              <a:rPr lang="es-CL" sz="1400" kern="0" dirty="0" err="1"/>
              <a:t>this</a:t>
            </a:r>
            <a:r>
              <a:rPr lang="es-CL" sz="1400" kern="0" dirty="0"/>
              <a:t> </a:t>
            </a:r>
            <a:r>
              <a:rPr lang="es-CL" sz="1400" kern="0" dirty="0" err="1"/>
              <a:t>interactively</a:t>
            </a:r>
            <a:r>
              <a:rPr lang="es-CL" sz="1400" kern="0" dirty="0"/>
              <a:t> </a:t>
            </a:r>
            <a:r>
              <a:rPr lang="es-CL" sz="1400" kern="0" dirty="0" err="1"/>
              <a:t>o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Whiteboard</a:t>
            </a:r>
            <a:endParaRPr lang="en-US" sz="1400" kern="0" dirty="0"/>
          </a:p>
        </p:txBody>
      </p:sp>
      <p:pic>
        <p:nvPicPr>
          <p:cNvPr id="17410" name="Picture 2" descr="Image result for euclidean distance">
            <a:extLst>
              <a:ext uri="{FF2B5EF4-FFF2-40B4-BE49-F238E27FC236}">
                <a16:creationId xmlns:a16="http://schemas.microsoft.com/office/drawing/2014/main" id="{BF032ECE-C16A-4F88-B18D-D82128768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858" y="3608675"/>
            <a:ext cx="209550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57928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/>
      <p:bldP spid="22" grpId="0" animBg="1"/>
      <p:bldP spid="23" grpId="0"/>
      <p:bldP spid="24" grpId="0" animBg="1"/>
      <p:bldP spid="25" grpId="0"/>
      <p:bldP spid="26" grpId="0" animBg="1"/>
      <p:bldP spid="27" grpId="0"/>
      <p:bldP spid="29" grpId="0" animBg="1"/>
      <p:bldP spid="30" grpId="0"/>
      <p:bldP spid="32" grpId="0" animBg="1"/>
      <p:bldP spid="3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andom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Initializat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ap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705860C-BE38-478B-A4A7-D3F12EB2E5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9777" y="2133600"/>
            <a:ext cx="6200564" cy="3771592"/>
          </a:xfrm>
          <a:prstGeom prst="rect">
            <a:avLst/>
          </a:prstGeom>
        </p:spPr>
      </p:pic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61A280CE-ECB5-4348-846D-AD0747F37BBD}"/>
              </a:ext>
            </a:extLst>
          </p:cNvPr>
          <p:cNvSpPr/>
          <p:nvPr/>
        </p:nvSpPr>
        <p:spPr bwMode="auto">
          <a:xfrm>
            <a:off x="1656769" y="1524000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 err="1"/>
              <a:t>Supose</a:t>
            </a:r>
            <a:r>
              <a:rPr lang="es-CL" sz="1600" kern="0" dirty="0"/>
              <a:t> </a:t>
            </a:r>
            <a:r>
              <a:rPr lang="es-CL" sz="1600" kern="0" dirty="0" err="1"/>
              <a:t>we</a:t>
            </a:r>
            <a:r>
              <a:rPr lang="es-CL" sz="1600" kern="0" dirty="0"/>
              <a:t> </a:t>
            </a:r>
            <a:r>
              <a:rPr lang="es-CL" sz="1600" kern="0" dirty="0" err="1"/>
              <a:t>finished</a:t>
            </a:r>
            <a:r>
              <a:rPr lang="es-CL" sz="1600" kern="0" dirty="0"/>
              <a:t> </a:t>
            </a:r>
            <a:r>
              <a:rPr lang="es-CL" sz="1600" kern="0" dirty="0" err="1"/>
              <a:t>with</a:t>
            </a:r>
            <a:r>
              <a:rPr lang="es-CL" sz="1600" kern="0" dirty="0"/>
              <a:t> </a:t>
            </a:r>
            <a:r>
              <a:rPr lang="es-CL" sz="1600" kern="0" dirty="0" err="1"/>
              <a:t>the</a:t>
            </a:r>
            <a:r>
              <a:rPr lang="es-CL" sz="1600" kern="0" dirty="0"/>
              <a:t> </a:t>
            </a:r>
            <a:r>
              <a:rPr lang="es-CL" sz="1600" kern="0" dirty="0" err="1"/>
              <a:t>following</a:t>
            </a:r>
            <a:r>
              <a:rPr lang="es-CL" sz="1600" kern="0" dirty="0"/>
              <a:t> </a:t>
            </a:r>
            <a:r>
              <a:rPr lang="es-CL" sz="1600" kern="0" dirty="0" err="1"/>
              <a:t>three</a:t>
            </a:r>
            <a:r>
              <a:rPr lang="es-CL" sz="1600" kern="0" dirty="0"/>
              <a:t> </a:t>
            </a:r>
            <a:r>
              <a:rPr lang="es-CL" sz="1600" kern="0" dirty="0" err="1"/>
              <a:t>clusters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95F3A6F-4BE0-4B59-9B81-DEE7DB40D4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7847" y="2429964"/>
            <a:ext cx="5644423" cy="3696045"/>
          </a:xfrm>
          <a:prstGeom prst="rect">
            <a:avLst/>
          </a:prstGeom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AD66BA95-3EA5-4B6B-B519-0F598CA9AAF2}"/>
              </a:ext>
            </a:extLst>
          </p:cNvPr>
          <p:cNvSpPr/>
          <p:nvPr/>
        </p:nvSpPr>
        <p:spPr bwMode="auto">
          <a:xfrm>
            <a:off x="1656769" y="1515395"/>
            <a:ext cx="5173026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600" kern="0" dirty="0" err="1"/>
              <a:t>Now</a:t>
            </a:r>
            <a:r>
              <a:rPr lang="es-CL" sz="1600" kern="0" dirty="0"/>
              <a:t>, for </a:t>
            </a:r>
            <a:r>
              <a:rPr lang="es-CL" sz="1600" kern="0" dirty="0" err="1"/>
              <a:t>the</a:t>
            </a:r>
            <a:r>
              <a:rPr lang="es-CL" sz="1600" kern="0" dirty="0"/>
              <a:t> </a:t>
            </a:r>
            <a:r>
              <a:rPr lang="es-CL" sz="1600" kern="0" dirty="0" err="1"/>
              <a:t>same</a:t>
            </a:r>
            <a:r>
              <a:rPr lang="es-CL" sz="1600" kern="0" dirty="0"/>
              <a:t> case, </a:t>
            </a:r>
            <a:r>
              <a:rPr lang="es-CL" sz="1600" kern="0" dirty="0" err="1"/>
              <a:t>we</a:t>
            </a:r>
            <a:r>
              <a:rPr lang="es-CL" sz="1600" kern="0" dirty="0"/>
              <a:t> </a:t>
            </a:r>
            <a:r>
              <a:rPr lang="es-CL" sz="1600" kern="0" dirty="0" err="1"/>
              <a:t>will</a:t>
            </a:r>
            <a:r>
              <a:rPr lang="es-CL" sz="1600" kern="0" dirty="0"/>
              <a:t> </a:t>
            </a:r>
            <a:r>
              <a:rPr lang="es-CL" sz="1600" kern="0" dirty="0" err="1"/>
              <a:t>start</a:t>
            </a:r>
            <a:r>
              <a:rPr lang="es-CL" sz="1600" kern="0" dirty="0"/>
              <a:t> </a:t>
            </a:r>
            <a:r>
              <a:rPr lang="es-CL" sz="1600" kern="0" dirty="0" err="1"/>
              <a:t>from</a:t>
            </a:r>
            <a:r>
              <a:rPr lang="es-CL" sz="1600" kern="0" dirty="0"/>
              <a:t> 0, </a:t>
            </a:r>
            <a:r>
              <a:rPr lang="es-CL" sz="1600" kern="0" dirty="0" err="1"/>
              <a:t>but</a:t>
            </a:r>
            <a:r>
              <a:rPr lang="es-CL" sz="1600" kern="0" dirty="0"/>
              <a:t> </a:t>
            </a:r>
            <a:r>
              <a:rPr lang="es-CL" sz="1600" kern="0" dirty="0" err="1"/>
              <a:t>selecting</a:t>
            </a:r>
            <a:r>
              <a:rPr lang="es-CL" sz="1600" kern="0" dirty="0"/>
              <a:t> </a:t>
            </a:r>
            <a:r>
              <a:rPr lang="es-CL" sz="1600" kern="0" dirty="0" err="1"/>
              <a:t>bad</a:t>
            </a:r>
            <a:r>
              <a:rPr lang="es-CL" sz="1600" kern="0" dirty="0"/>
              <a:t> </a:t>
            </a:r>
            <a:r>
              <a:rPr lang="es-CL" sz="1600" kern="0" dirty="0" err="1"/>
              <a:t>random</a:t>
            </a:r>
            <a:r>
              <a:rPr lang="es-CL" sz="1600" kern="0" dirty="0"/>
              <a:t> </a:t>
            </a:r>
            <a:r>
              <a:rPr lang="es-CL" sz="1600" kern="0" dirty="0" err="1"/>
              <a:t>initial</a:t>
            </a:r>
            <a:r>
              <a:rPr lang="es-CL" sz="1600" kern="0" dirty="0"/>
              <a:t> </a:t>
            </a:r>
            <a:r>
              <a:rPr lang="es-CL" sz="1600" kern="0" dirty="0" err="1"/>
              <a:t>centroids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9DCF72C5-9E3D-40A2-B755-1D906D4ADB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992" y="2630955"/>
            <a:ext cx="8020131" cy="329406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432644F-D1E3-4A75-9056-A60EA73D5A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085" y="2476233"/>
            <a:ext cx="8589829" cy="35420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A62BF6D-DCDE-4091-AACC-381BF6C8CF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775" y="2386328"/>
            <a:ext cx="8796448" cy="362377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850FE38D-E84E-4051-8235-79C6FA2F72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775" y="2435582"/>
            <a:ext cx="8459744" cy="3623349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00B0ED8E-D6A5-405F-A10A-AAF534187E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481" y="2386328"/>
            <a:ext cx="7703979" cy="392475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8C004C54-C901-4015-BE1A-18E250862C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336" y="1328273"/>
            <a:ext cx="8415175" cy="472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39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Selecting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he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numbe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of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luster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in K-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Mean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6504BAD-96C9-4249-AD31-E56743F1A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60" y="2995806"/>
            <a:ext cx="7620000" cy="1234196"/>
          </a:xfrm>
          <a:prstGeom prst="rect">
            <a:avLst/>
          </a:prstGeom>
        </p:spPr>
      </p:pic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F0B0617D-A237-444E-8FCC-3FEBA32910B3}"/>
              </a:ext>
            </a:extLst>
          </p:cNvPr>
          <p:cNvSpPr/>
          <p:nvPr/>
        </p:nvSpPr>
        <p:spPr bwMode="auto">
          <a:xfrm>
            <a:off x="544880" y="1899937"/>
            <a:ext cx="680095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For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evious</a:t>
            </a:r>
            <a:r>
              <a:rPr lang="es-CL" sz="1400" kern="0" dirty="0"/>
              <a:t> </a:t>
            </a:r>
            <a:r>
              <a:rPr lang="es-CL" sz="1400" kern="0" dirty="0" err="1"/>
              <a:t>example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</a:t>
            </a:r>
            <a:r>
              <a:rPr lang="es-CL" sz="1400" kern="0" dirty="0" err="1"/>
              <a:t>had</a:t>
            </a:r>
            <a:r>
              <a:rPr lang="es-CL" sz="1400" kern="0" dirty="0"/>
              <a:t> </a:t>
            </a:r>
            <a:r>
              <a:rPr lang="es-CL" sz="1400" kern="0" dirty="0" err="1"/>
              <a:t>something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could</a:t>
            </a:r>
            <a:r>
              <a:rPr lang="es-CL" sz="1400" kern="0" dirty="0"/>
              <a:t> be </a:t>
            </a:r>
            <a:r>
              <a:rPr lang="es-CL" sz="1400" kern="0" dirty="0" err="1"/>
              <a:t>defined</a:t>
            </a:r>
            <a:r>
              <a:rPr lang="es-CL" sz="1400" kern="0" dirty="0"/>
              <a:t> as </a:t>
            </a:r>
            <a:r>
              <a:rPr lang="es-CL" sz="1400" kern="0" dirty="0" err="1"/>
              <a:t>follows</a:t>
            </a:r>
            <a:r>
              <a:rPr lang="es-CL" sz="1400" kern="0" dirty="0"/>
              <a:t>:</a:t>
            </a:r>
            <a:endParaRPr lang="en-US" sz="1400" kern="0" dirty="0"/>
          </a:p>
        </p:txBody>
      </p:sp>
      <p:sp>
        <p:nvSpPr>
          <p:cNvPr id="9" name="Rectángulo: esquinas redondeadas 4">
            <a:extLst>
              <a:ext uri="{FF2B5EF4-FFF2-40B4-BE49-F238E27FC236}">
                <a16:creationId xmlns:a16="http://schemas.microsoft.com/office/drawing/2014/main" id="{39A8B726-B9B9-4FC5-8905-401666AF658D}"/>
              </a:ext>
            </a:extLst>
          </p:cNvPr>
          <p:cNvSpPr/>
          <p:nvPr/>
        </p:nvSpPr>
        <p:spPr bwMode="auto">
          <a:xfrm>
            <a:off x="517360" y="4724399"/>
            <a:ext cx="3542249" cy="83680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WCSS: </a:t>
            </a:r>
            <a:r>
              <a:rPr lang="es-CL" sz="1400" kern="0" dirty="0" err="1"/>
              <a:t>Within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Sum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Squares</a:t>
            </a:r>
            <a:endParaRPr lang="es-CL" sz="1400" kern="0" dirty="0"/>
          </a:p>
          <a:p>
            <a:pPr algn="just"/>
            <a:r>
              <a:rPr lang="es-CL" sz="1400" kern="0" dirty="0"/>
              <a:t>P: Point</a:t>
            </a:r>
          </a:p>
          <a:p>
            <a:pPr algn="just"/>
            <a:r>
              <a:rPr lang="es-CL" sz="1400" kern="0" dirty="0"/>
              <a:t>C: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E7789B1-E59D-4D4A-84E8-F5A808F1D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287775"/>
            <a:ext cx="8245639" cy="497853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EAEBBD2-94ED-42A9-8A7E-5580C798CE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662" y="1342103"/>
            <a:ext cx="8411510" cy="492420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859C2FF-7730-4570-AE7C-E12875C5B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44" y="1447800"/>
            <a:ext cx="8626150" cy="47244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9DFF526-2AEA-403F-9F1F-E74F0A713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4422" y="1237134"/>
            <a:ext cx="8522471" cy="4935066"/>
          </a:xfrm>
          <a:prstGeom prst="rect">
            <a:avLst/>
          </a:prstGeom>
        </p:spPr>
      </p:pic>
      <p:sp>
        <p:nvSpPr>
          <p:cNvPr id="15" name="Rectángulo: esquinas redondeadas 4">
            <a:extLst>
              <a:ext uri="{FF2B5EF4-FFF2-40B4-BE49-F238E27FC236}">
                <a16:creationId xmlns:a16="http://schemas.microsoft.com/office/drawing/2014/main" id="{3EB4E0CF-9458-4F06-9E29-216709BEFF41}"/>
              </a:ext>
            </a:extLst>
          </p:cNvPr>
          <p:cNvSpPr/>
          <p:nvPr/>
        </p:nvSpPr>
        <p:spPr bwMode="auto">
          <a:xfrm>
            <a:off x="3505200" y="3103195"/>
            <a:ext cx="292493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olution: The Elbow Method</a:t>
            </a:r>
          </a:p>
          <a:p>
            <a:pPr algn="just"/>
            <a:endParaRPr lang="en-US" sz="1400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3D0D37F-C5A0-4BD9-815D-925F10718A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105" y="1229271"/>
            <a:ext cx="7931538" cy="505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468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0DDD6D1-5B8E-44F5-B866-3A78D9336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3" y="1611366"/>
            <a:ext cx="4105275" cy="19621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D28521-B761-4AF9-8BFA-4A5E1F45EC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639" y="1341438"/>
            <a:ext cx="4328786" cy="25146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A550EDB-282E-43DF-9361-FA7ED101D7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723" y="3904564"/>
            <a:ext cx="6848475" cy="237172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E5D3384-1340-4A74-92CA-687980EEE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3721" y="2090335"/>
            <a:ext cx="5220889" cy="3531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57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ean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0E8FE3C-F958-4C34-A1B6-560C9C813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80" y="1553472"/>
            <a:ext cx="6705600" cy="7239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0207AEF-A7E3-4035-93DE-2F7BB386A3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80" y="2561583"/>
            <a:ext cx="8266047" cy="213358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F3C1E1A-07BA-473D-8719-E30E12CD9A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4322" y="1471465"/>
            <a:ext cx="5928086" cy="4204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3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ierarchical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Cluster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D6D8A9E-EF37-43A7-968E-78BA11BA2A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2209800"/>
            <a:ext cx="3292640" cy="289574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96E9B9F-5BF3-4C7F-BCAC-5BD6C40765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" y="2195241"/>
            <a:ext cx="7848600" cy="3154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1859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ierarchical Cluster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9" y="2897685"/>
            <a:ext cx="534112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each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a single-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</a:t>
            </a:r>
            <a:r>
              <a:rPr lang="es-CL" sz="1400" kern="0" dirty="0" err="1"/>
              <a:t>forming</a:t>
            </a:r>
            <a:r>
              <a:rPr lang="es-CL" sz="1400" kern="0" dirty="0"/>
              <a:t> N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1895" y="2719170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7" y="3805765"/>
            <a:ext cx="6331724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Tak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two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data </a:t>
            </a:r>
            <a:r>
              <a:rPr lang="es-CL" sz="1400" kern="0" dirty="0" err="1"/>
              <a:t>points</a:t>
            </a:r>
            <a:r>
              <a:rPr lang="es-CL" sz="1400" kern="0" dirty="0"/>
              <a:t> and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them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N-1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18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5456" y="365520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19148" y="4664008"/>
            <a:ext cx="644281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Tak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two</a:t>
            </a:r>
            <a:r>
              <a:rPr lang="es-CL" sz="1400" kern="0" dirty="0"/>
              <a:t> </a:t>
            </a:r>
            <a:r>
              <a:rPr lang="es-CL" sz="1400" kern="0" dirty="0" err="1"/>
              <a:t>closest</a:t>
            </a:r>
            <a:r>
              <a:rPr lang="es-CL" sz="1400" kern="0" dirty="0"/>
              <a:t> </a:t>
            </a:r>
            <a:r>
              <a:rPr lang="es-CL" sz="1400" kern="0" dirty="0" err="1"/>
              <a:t>clusters</a:t>
            </a:r>
            <a:r>
              <a:rPr lang="es-CL" sz="1400" kern="0" dirty="0"/>
              <a:t> and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them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r>
              <a:rPr lang="es-CL" sz="1400" kern="0" dirty="0"/>
              <a:t> (N-2 </a:t>
            </a:r>
            <a:r>
              <a:rPr lang="es-CL" sz="1400" kern="0" dirty="0" err="1"/>
              <a:t>clusters</a:t>
            </a:r>
            <a:r>
              <a:rPr lang="es-CL" sz="1400" kern="0" dirty="0"/>
              <a:t>)</a:t>
            </a:r>
            <a:endParaRPr lang="en-US" sz="1400" kern="0" dirty="0"/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5456" y="4513450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224994" y="5599551"/>
            <a:ext cx="411607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epeat</a:t>
            </a:r>
            <a:r>
              <a:rPr lang="es-CL" sz="1400" kern="0" dirty="0"/>
              <a:t> step </a:t>
            </a:r>
            <a:r>
              <a:rPr lang="es-CL" sz="1400" kern="0" dirty="0" err="1"/>
              <a:t>three</a:t>
            </a:r>
            <a:r>
              <a:rPr lang="es-CL" sz="1400" kern="0" dirty="0"/>
              <a:t> </a:t>
            </a:r>
            <a:r>
              <a:rPr lang="es-CL" sz="1400" kern="0" dirty="0" err="1"/>
              <a:t>until</a:t>
            </a:r>
            <a:r>
              <a:rPr lang="es-CL" sz="1400" kern="0" dirty="0"/>
              <a:t> </a:t>
            </a:r>
            <a:r>
              <a:rPr lang="es-CL" sz="1400" kern="0" dirty="0" err="1"/>
              <a:t>there</a:t>
            </a:r>
            <a:r>
              <a:rPr lang="es-CL" sz="1400" kern="0" dirty="0"/>
              <a:t> is </a:t>
            </a:r>
            <a:r>
              <a:rPr lang="es-CL" sz="1400" kern="0" dirty="0" err="1"/>
              <a:t>only</a:t>
            </a:r>
            <a:r>
              <a:rPr lang="es-CL" sz="1400" kern="0" dirty="0"/>
              <a:t> </a:t>
            </a:r>
            <a:r>
              <a:rPr lang="es-CL" sz="1400" kern="0" dirty="0" err="1"/>
              <a:t>one</a:t>
            </a:r>
            <a:r>
              <a:rPr lang="es-CL" sz="1400" kern="0" dirty="0"/>
              <a:t> </a:t>
            </a:r>
            <a:r>
              <a:rPr lang="es-CL" sz="1400" kern="0" dirty="0" err="1"/>
              <a:t>cluster</a:t>
            </a:r>
            <a:endParaRPr lang="en-US" sz="1400" kern="0" dirty="0"/>
          </a:p>
        </p:txBody>
      </p:sp>
      <p:sp>
        <p:nvSpPr>
          <p:cNvPr id="2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541895" y="5332021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D3A48F66-1047-4364-B346-8BEB788049CA}"/>
              </a:ext>
            </a:extLst>
          </p:cNvPr>
          <p:cNvSpPr/>
          <p:nvPr/>
        </p:nvSpPr>
        <p:spPr>
          <a:xfrm>
            <a:off x="539554" y="1343490"/>
            <a:ext cx="7924800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her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are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wo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ypes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: </a:t>
            </a:r>
          </a:p>
          <a:p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gglomerativ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(and </a:t>
            </a:r>
            <a:r>
              <a:rPr lang="es-ES" sz="36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Divisive</a:t>
            </a:r>
            <a:r>
              <a:rPr lang="es-ES" sz="3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)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C5264EA1-B155-43C7-8C37-2FEFF9327F1C}"/>
              </a:ext>
            </a:extLst>
          </p:cNvPr>
          <p:cNvSpPr/>
          <p:nvPr/>
        </p:nvSpPr>
        <p:spPr bwMode="auto">
          <a:xfrm>
            <a:off x="7086600" y="2321147"/>
            <a:ext cx="1905000" cy="84904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One</a:t>
            </a:r>
            <a:r>
              <a:rPr lang="es-CL" sz="1400" kern="0" dirty="0"/>
              <a:t> is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opposite</a:t>
            </a:r>
            <a:r>
              <a:rPr lang="es-CL" sz="1400" kern="0" dirty="0"/>
              <a:t> </a:t>
            </a:r>
            <a:r>
              <a:rPr lang="es-CL" sz="1400" kern="0" dirty="0" err="1"/>
              <a:t>of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other</a:t>
            </a:r>
            <a:endParaRPr lang="en-US" sz="1400" kern="0" dirty="0"/>
          </a:p>
        </p:txBody>
      </p:sp>
      <p:sp>
        <p:nvSpPr>
          <p:cNvPr id="26" name="Flecha: doblada 25">
            <a:extLst>
              <a:ext uri="{FF2B5EF4-FFF2-40B4-BE49-F238E27FC236}">
                <a16:creationId xmlns:a16="http://schemas.microsoft.com/office/drawing/2014/main" id="{1296C3E9-BDE2-4F3B-BD23-817B1335EB58}"/>
              </a:ext>
            </a:extLst>
          </p:cNvPr>
          <p:cNvSpPr/>
          <p:nvPr/>
        </p:nvSpPr>
        <p:spPr bwMode="auto">
          <a:xfrm rot="20843633">
            <a:off x="242246" y="4835824"/>
            <a:ext cx="390687" cy="1201911"/>
          </a:xfrm>
          <a:prstGeom prst="ben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Rectángulo: esquinas redondeadas 4">
            <a:extLst>
              <a:ext uri="{FF2B5EF4-FFF2-40B4-BE49-F238E27FC236}">
                <a16:creationId xmlns:a16="http://schemas.microsoft.com/office/drawing/2014/main" id="{B2B398AE-65CD-4962-84B3-F20A4FA9C371}"/>
              </a:ext>
            </a:extLst>
          </p:cNvPr>
          <p:cNvSpPr/>
          <p:nvPr/>
        </p:nvSpPr>
        <p:spPr bwMode="auto">
          <a:xfrm>
            <a:off x="5749190" y="5406304"/>
            <a:ext cx="1905000" cy="84904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Let’s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this</a:t>
            </a:r>
            <a:r>
              <a:rPr lang="es-CL" sz="1400" kern="0" dirty="0"/>
              <a:t> in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whiteboard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42159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6" grpId="0" animBg="1"/>
      <p:bldP spid="2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ndograms</a:t>
            </a:r>
            <a:endParaRPr lang="es-CL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And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ow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do</a:t>
            </a:r>
            <a:r>
              <a:rPr kumimoji="0" lang="es-CL" sz="2100" b="0" i="0" u="none" strike="noStrike" kern="0" cap="none" spc="0" normalizeH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hey</a:t>
            </a:r>
            <a:r>
              <a:rPr kumimoji="0" lang="es-CL" sz="2100" b="0" i="0" u="none" strike="noStrike" kern="0" cap="none" spc="0" normalizeH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work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0EC0E0F-98E6-40FB-8FFB-52AD35803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794" y="1770604"/>
            <a:ext cx="8229600" cy="331679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24B1060-A38E-4A22-BB27-F84B8013E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63509"/>
            <a:ext cx="9144000" cy="3730981"/>
          </a:xfrm>
          <a:prstGeom prst="rect">
            <a:avLst/>
          </a:prstGeom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155825FF-7B81-4145-B4B7-64420A6CAE4D}"/>
              </a:ext>
            </a:extLst>
          </p:cNvPr>
          <p:cNvSpPr/>
          <p:nvPr/>
        </p:nvSpPr>
        <p:spPr bwMode="auto">
          <a:xfrm>
            <a:off x="4772252" y="5382537"/>
            <a:ext cx="3817577" cy="6372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400" kern="0" dirty="0" err="1"/>
              <a:t>Remember</a:t>
            </a:r>
            <a:r>
              <a:rPr lang="es-CL" sz="1400" kern="0" dirty="0"/>
              <a:t>: The </a:t>
            </a:r>
            <a:r>
              <a:rPr lang="es-CL" sz="1400" kern="0" dirty="0" err="1"/>
              <a:t>highness</a:t>
            </a:r>
            <a:r>
              <a:rPr lang="es-CL" sz="1400" kern="0" dirty="0"/>
              <a:t> </a:t>
            </a:r>
            <a:r>
              <a:rPr lang="es-CL" sz="1400" kern="0" dirty="0" err="1"/>
              <a:t>represents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issimilarity</a:t>
            </a:r>
            <a:r>
              <a:rPr lang="es-CL" sz="1400" kern="0" dirty="0"/>
              <a:t> </a:t>
            </a:r>
            <a:endParaRPr lang="en-US" sz="1400" kern="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31AA946-DDB6-477B-ADC2-45EF3AA9F1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91118"/>
            <a:ext cx="9144000" cy="367576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B9132B5-5342-46FB-8546-A8DFC98741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620689"/>
            <a:ext cx="9144000" cy="361662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476DEA64-5AAD-41DA-9190-D0963C58FF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54238"/>
            <a:ext cx="9144000" cy="362039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BAC474C-5263-408A-A258-B9ACD9D0A6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633112"/>
            <a:ext cx="9144000" cy="3591775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5D980A1-B91A-437F-B91D-8BD318D405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680812"/>
            <a:ext cx="9144000" cy="3496376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EC27EA67-53FA-4C65-8D36-C1DE4A70F1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736285"/>
            <a:ext cx="9144000" cy="3385429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CF27A6AD-BE11-4DF8-B859-B6C33EFD97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706459"/>
            <a:ext cx="9144000" cy="344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528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: esquinas redondeadas 4">
            <a:extLst>
              <a:ext uri="{FF2B5EF4-FFF2-40B4-BE49-F238E27FC236}">
                <a16:creationId xmlns:a16="http://schemas.microsoft.com/office/drawing/2014/main" id="{92AC78D5-CC8D-4A98-A023-081B619C2F35}"/>
              </a:ext>
            </a:extLst>
          </p:cNvPr>
          <p:cNvSpPr/>
          <p:nvPr/>
        </p:nvSpPr>
        <p:spPr bwMode="auto">
          <a:xfrm>
            <a:off x="6647677" y="3731136"/>
            <a:ext cx="2238148" cy="96988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400" kern="0" dirty="0" err="1"/>
              <a:t>What</a:t>
            </a:r>
            <a:r>
              <a:rPr lang="es-CL" sz="1400" kern="0" dirty="0"/>
              <a:t> is Ward?</a:t>
            </a:r>
          </a:p>
          <a:p>
            <a:r>
              <a:rPr lang="es-CL" sz="1400" kern="0" dirty="0" err="1"/>
              <a:t>Hint</a:t>
            </a:r>
            <a:r>
              <a:rPr lang="es-CL" sz="1400" kern="0" dirty="0"/>
              <a:t>: </a:t>
            </a:r>
            <a:r>
              <a:rPr lang="es-CL" sz="1400" kern="0" dirty="0" err="1"/>
              <a:t>Perform</a:t>
            </a:r>
            <a:r>
              <a:rPr lang="es-CL" sz="1400" kern="0" dirty="0"/>
              <a:t> a similar </a:t>
            </a:r>
            <a:r>
              <a:rPr lang="es-CL" sz="1400" kern="0" dirty="0" err="1"/>
              <a:t>job</a:t>
            </a:r>
            <a:r>
              <a:rPr lang="es-CL" sz="1400" kern="0" dirty="0"/>
              <a:t> </a:t>
            </a:r>
            <a:r>
              <a:rPr lang="es-CL" sz="1400" kern="0" dirty="0" err="1"/>
              <a:t>than</a:t>
            </a:r>
            <a:r>
              <a:rPr lang="es-CL" sz="1400" kern="0" dirty="0"/>
              <a:t> WCSS</a:t>
            </a:r>
            <a:endParaRPr lang="en-US" sz="1400" kern="0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8D48D1E-47F4-4896-9C27-7B68A77D7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268" y="1476375"/>
            <a:ext cx="4210050" cy="195262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8B0A3E3-666E-4C87-90E3-BC2FDE0FBF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6425" y="1476375"/>
            <a:ext cx="4462505" cy="19526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AA73A1E1-C1BF-4997-AA84-19E08EE9ED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575" y="3607121"/>
            <a:ext cx="5876925" cy="141922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4FA6CFD-107D-4EF8-8BCF-F3E15E7BCB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4626" y="1476375"/>
            <a:ext cx="6494748" cy="460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23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3" y="496283"/>
            <a:ext cx="8072469" cy="709521"/>
          </a:xfrm>
        </p:spPr>
        <p:txBody>
          <a:bodyPr/>
          <a:lstStyle/>
          <a:p>
            <a:r>
              <a:rPr lang="en-US" b="1" dirty="0"/>
              <a:t>Data Preprocessing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7994847" cy="4894961"/>
          </a:xfrm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8D9FC0-20E2-4E53-B6C8-2302D874B7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4952973" y="1981199"/>
            <a:ext cx="3733800" cy="33528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How an analyst can use it</a:t>
            </a:r>
          </a:p>
          <a:p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This piece of work has to be applied on every one of the ML Models for every business case dealt with them.</a:t>
            </a:r>
          </a:p>
        </p:txBody>
      </p:sp>
      <p:sp>
        <p:nvSpPr>
          <p:cNvPr id="6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539553" y="1524000"/>
            <a:ext cx="4267200" cy="441399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Description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/>
              <a:t>Experienced Data Scientists recommend to take a serious approach on dealing with this section.</a:t>
            </a:r>
          </a:p>
          <a:p>
            <a:endParaRPr lang="en-US" sz="1400" dirty="0"/>
          </a:p>
          <a:p>
            <a:r>
              <a:rPr lang="en-US" sz="1400" dirty="0"/>
              <a:t>This include (among other things): </a:t>
            </a:r>
          </a:p>
          <a:p>
            <a:r>
              <a:rPr lang="en-US" sz="1400" dirty="0"/>
              <a:t>Get and import a dataset</a:t>
            </a:r>
          </a:p>
          <a:p>
            <a:r>
              <a:rPr lang="en-US" sz="1400" dirty="0"/>
              <a:t>Import libraries</a:t>
            </a:r>
          </a:p>
          <a:p>
            <a:r>
              <a:rPr lang="en-US" sz="1400" dirty="0"/>
              <a:t>Deal with missing values</a:t>
            </a:r>
          </a:p>
          <a:p>
            <a:r>
              <a:rPr lang="en-US" sz="1400" dirty="0"/>
              <a:t>Identify Categorical data</a:t>
            </a:r>
          </a:p>
          <a:p>
            <a:r>
              <a:rPr lang="en-US" sz="1400" dirty="0"/>
              <a:t>Splitting a dataset into training and testing sets</a:t>
            </a:r>
          </a:p>
          <a:p>
            <a:r>
              <a:rPr lang="en-US" sz="1400" dirty="0"/>
              <a:t>Feature Scaling.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" name="Picture 8" descr="https://s9783.pcdn.co/wp-content/uploads/2017/02/Machine-learning-icon-2x.png">
            <a:extLst>
              <a:ext uri="{FF2B5EF4-FFF2-40B4-BE49-F238E27FC236}">
                <a16:creationId xmlns:a16="http://schemas.microsoft.com/office/drawing/2014/main" id="{560CD311-8EB9-4750-848F-6EDC0EACC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128" y="4872560"/>
            <a:ext cx="922879" cy="922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022790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HC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BDB244A-16E9-4A63-89E3-53B7F4242F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839" y="1576388"/>
            <a:ext cx="7820025" cy="84772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104DAA4A-8409-4C17-9D9B-FD93D40D7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2702247"/>
            <a:ext cx="8382000" cy="21526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9B08F84-8143-4CF2-9EDA-4526615F98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1680" y="1465891"/>
            <a:ext cx="5820639" cy="4127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1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Bonus: Clustering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Chea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heet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D9A9B7D-F74E-429F-87BD-95D8127CC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60" y="1447800"/>
            <a:ext cx="8072469" cy="434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9798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4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Bonus Material</a:t>
            </a:r>
          </a:p>
        </p:txBody>
      </p:sp>
    </p:spTree>
    <p:extLst>
      <p:ext uri="{BB962C8B-B14F-4D97-AF65-F5344CB8AC3E}">
        <p14:creationId xmlns:p14="http://schemas.microsoft.com/office/powerpoint/2010/main" val="185356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7994847" cy="4894961"/>
          </a:xfrm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8D9FC0-20E2-4E53-B6C8-2302D874B7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4953000" y="1827109"/>
            <a:ext cx="3956247" cy="357767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How an analyst can use it</a:t>
            </a:r>
          </a:p>
          <a:p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A typical application would be used to classify data into a predefined target field. 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An example field might be high probability of churn or even a numeric value such as an estimated price in the case of regression trees. </a:t>
            </a:r>
          </a:p>
          <a:p>
            <a:endParaRPr lang="en-US" sz="1400" dirty="0">
              <a:ea typeface="Verdana" pitchFamily="34" charset="0"/>
              <a:cs typeface="Verdana" pitchFamily="34" charset="0"/>
            </a:endParaRPr>
          </a:p>
          <a:p>
            <a:r>
              <a:rPr lang="en-US" sz="1400" dirty="0">
                <a:ea typeface="Verdana" pitchFamily="34" charset="0"/>
                <a:cs typeface="Verdana" pitchFamily="34" charset="0"/>
              </a:rPr>
              <a:t>Decision trees are also used to explore which are the most important fields for a particular data set, which then can be used in other algorithms and Business rules.</a:t>
            </a:r>
          </a:p>
        </p:txBody>
      </p:sp>
      <p:sp>
        <p:nvSpPr>
          <p:cNvPr id="6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539553" y="1276436"/>
            <a:ext cx="4267200" cy="4661554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endParaRPr lang="en-US" sz="1600" b="1" dirty="0">
              <a:latin typeface="+mj-lt"/>
              <a:ea typeface="Verdana" pitchFamily="34" charset="0"/>
              <a:cs typeface="Verdana" pitchFamily="34" charset="0"/>
            </a:endParaRPr>
          </a:p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Description</a:t>
            </a:r>
          </a:p>
          <a:p>
            <a:endParaRPr lang="en-US" sz="1400" dirty="0"/>
          </a:p>
          <a:p>
            <a:r>
              <a:rPr lang="en-US" sz="1400" dirty="0"/>
              <a:t>Classification algorithms. Decision trees work by splitting data up along its dimensions into smaller data cells, with the aim of decreasing the overall entropy of the data within each cell. </a:t>
            </a:r>
          </a:p>
          <a:p>
            <a:endParaRPr lang="en-US" sz="1400" dirty="0"/>
          </a:p>
          <a:p>
            <a:r>
              <a:rPr lang="en-US" sz="1400" dirty="0"/>
              <a:t>Random Forests follow that principle, but instead of using just one "Tree", it consists on computing, randomly, a series of multiple trees to improve the accuracy of the model. </a:t>
            </a:r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B989D8CB-5CA6-45F6-9469-BD307408E7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765" y="566915"/>
            <a:ext cx="8072469" cy="709521"/>
          </a:xfrm>
        </p:spPr>
        <p:txBody>
          <a:bodyPr/>
          <a:lstStyle/>
          <a:p>
            <a:r>
              <a:rPr lang="en-US" b="1" dirty="0"/>
              <a:t>Decision Trees and Random Forests </a:t>
            </a:r>
            <a:endParaRPr lang="en-US" dirty="0"/>
          </a:p>
        </p:txBody>
      </p:sp>
      <p:pic>
        <p:nvPicPr>
          <p:cNvPr id="19460" name="Picture 4" descr="Image result for decision trees and random forests">
            <a:extLst>
              <a:ext uri="{FF2B5EF4-FFF2-40B4-BE49-F238E27FC236}">
                <a16:creationId xmlns:a16="http://schemas.microsoft.com/office/drawing/2014/main" id="{2CAEF8A7-EBDE-47F0-B751-9593AE3CC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447800"/>
            <a:ext cx="2251381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0736172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4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F856A71-F391-481C-AC62-51F31095A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974" y="1716897"/>
            <a:ext cx="8072469" cy="342420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0EF5EC15-3BDD-4CF0-9325-CEA037D1C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557" y="1226021"/>
            <a:ext cx="8057146" cy="499979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F98D700C-25A3-411E-BAD7-F2EB02935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024" y="1299318"/>
            <a:ext cx="7911952" cy="490037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E73F754A-652B-49B0-9522-7B11001B1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361" y="1273492"/>
            <a:ext cx="8001920" cy="4875018"/>
          </a:xfrm>
          <a:prstGeom prst="rect">
            <a:avLst/>
          </a:prstGeom>
        </p:spPr>
      </p:pic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13B33E33-8CBC-4D6C-8F18-514D2CA17882}"/>
              </a:ext>
            </a:extLst>
          </p:cNvPr>
          <p:cNvSpPr/>
          <p:nvPr/>
        </p:nvSpPr>
        <p:spPr bwMode="auto">
          <a:xfrm>
            <a:off x="616024" y="1398355"/>
            <a:ext cx="2998639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The </a:t>
            </a:r>
            <a:r>
              <a:rPr lang="es-CL" sz="1200" kern="0" dirty="0" err="1"/>
              <a:t>splits</a:t>
            </a:r>
            <a:r>
              <a:rPr lang="es-CL" sz="1200" kern="0" dirty="0"/>
              <a:t> </a:t>
            </a:r>
            <a:r>
              <a:rPr lang="es-CL" sz="1200" kern="0" dirty="0" err="1"/>
              <a:t>pretend</a:t>
            </a:r>
            <a:r>
              <a:rPr lang="es-CL" sz="1200" kern="0" dirty="0"/>
              <a:t> </a:t>
            </a:r>
            <a:r>
              <a:rPr lang="es-CL" sz="1200" kern="0" dirty="0" err="1"/>
              <a:t>to</a:t>
            </a:r>
            <a:r>
              <a:rPr lang="es-CL" sz="1200" kern="0" dirty="0"/>
              <a:t> </a:t>
            </a:r>
            <a:r>
              <a:rPr lang="es-CL" sz="1200" kern="0" dirty="0" err="1"/>
              <a:t>minimize</a:t>
            </a:r>
            <a:r>
              <a:rPr lang="es-CL" sz="1200" kern="0" dirty="0"/>
              <a:t> </a:t>
            </a:r>
            <a:r>
              <a:rPr lang="es-CL" sz="1200" kern="0" dirty="0" err="1"/>
              <a:t>entropy</a:t>
            </a:r>
            <a:r>
              <a:rPr lang="es-CL" sz="1200" kern="0" dirty="0"/>
              <a:t>. </a:t>
            </a:r>
            <a:r>
              <a:rPr lang="es-CL" sz="1200" kern="0" dirty="0" err="1"/>
              <a:t>What</a:t>
            </a:r>
            <a:r>
              <a:rPr lang="es-CL" sz="1200" kern="0" dirty="0"/>
              <a:t> </a:t>
            </a:r>
            <a:r>
              <a:rPr lang="es-CL" sz="1200" kern="0" dirty="0" err="1"/>
              <a:t>does</a:t>
            </a:r>
            <a:r>
              <a:rPr lang="es-CL" sz="1200" kern="0" dirty="0"/>
              <a:t> </a:t>
            </a:r>
            <a:r>
              <a:rPr lang="es-CL" sz="1200" kern="0" dirty="0" err="1"/>
              <a:t>that</a:t>
            </a:r>
            <a:r>
              <a:rPr lang="es-CL" sz="1200" kern="0" dirty="0"/>
              <a:t> mean?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9AEA6751-F005-4D35-A4B3-E3FE04733D43}"/>
              </a:ext>
            </a:extLst>
          </p:cNvPr>
          <p:cNvSpPr/>
          <p:nvPr/>
        </p:nvSpPr>
        <p:spPr bwMode="auto">
          <a:xfrm>
            <a:off x="4953000" y="1398355"/>
            <a:ext cx="3200400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Often interpreted as the degree of disorder or randomness in the system.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id="{17F44E79-D614-4958-AED6-52E0773945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248" y="1247370"/>
            <a:ext cx="8298904" cy="487501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495D0F32-CDC0-4717-AA44-26E9E3D8DE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08" y="1223089"/>
            <a:ext cx="8306468" cy="496942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54DBEE60-5140-48A3-B92E-F410316ADE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32" y="1396387"/>
            <a:ext cx="8078894" cy="4623413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FF0A977-ABA9-458E-AAD8-F2092A601C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028" y="1299318"/>
            <a:ext cx="8314203" cy="4720481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id="{51D65C62-CD4D-4B0A-9BE5-332D850E1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13" y="1506548"/>
            <a:ext cx="8137615" cy="453459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2345285-377B-4A75-9CB0-FDA940E0A1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2644" y="1247370"/>
            <a:ext cx="8372401" cy="482854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04B118B-D40E-429F-89D6-D74B7F29AE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1974" y="1223089"/>
            <a:ext cx="8116654" cy="482854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4677943-D062-4FAB-816A-0BF79D5C66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2644" y="1372764"/>
            <a:ext cx="8165332" cy="476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1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50" y="1524000"/>
            <a:ext cx="551497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2590800"/>
            <a:ext cx="7372350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1764274" y="5181600"/>
            <a:ext cx="5578640" cy="75793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So, </a:t>
            </a:r>
            <a:r>
              <a:rPr lang="es-CL" sz="1400" kern="0" dirty="0" err="1"/>
              <a:t>basically</a:t>
            </a:r>
            <a:r>
              <a:rPr lang="es-CL" sz="1400" kern="0" dirty="0"/>
              <a:t>, </a:t>
            </a:r>
            <a:r>
              <a:rPr lang="es-CL" sz="1400" kern="0" dirty="0" err="1"/>
              <a:t>entropy</a:t>
            </a:r>
            <a:r>
              <a:rPr lang="es-CL" sz="1400" kern="0" dirty="0"/>
              <a:t> </a:t>
            </a:r>
            <a:r>
              <a:rPr lang="es-CL" sz="1400" kern="0" dirty="0" err="1"/>
              <a:t>attempts</a:t>
            </a:r>
            <a:r>
              <a:rPr lang="es-CL" sz="1400" kern="0" dirty="0"/>
              <a:t> to </a:t>
            </a:r>
            <a:r>
              <a:rPr lang="es-CL" sz="1400" kern="0" dirty="0" err="1"/>
              <a:t>maximiz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mutual </a:t>
            </a:r>
            <a:r>
              <a:rPr lang="es-CL" sz="1400" kern="0" dirty="0" err="1"/>
              <a:t>information</a:t>
            </a:r>
            <a:r>
              <a:rPr lang="es-CL" sz="1400" kern="0" dirty="0"/>
              <a:t> (</a:t>
            </a:r>
            <a:r>
              <a:rPr lang="es-CL" sz="1400" kern="0" dirty="0" err="1"/>
              <a:t>by</a:t>
            </a:r>
            <a:r>
              <a:rPr lang="es-CL" sz="1400" kern="0" dirty="0"/>
              <a:t> </a:t>
            </a:r>
            <a:r>
              <a:rPr lang="es-CL" sz="1400" kern="0" dirty="0" err="1"/>
              <a:t>constructing</a:t>
            </a:r>
            <a:r>
              <a:rPr lang="es-CL" sz="1400" kern="0" dirty="0"/>
              <a:t> a </a:t>
            </a:r>
            <a:r>
              <a:rPr lang="es-CL" sz="1400" kern="0" dirty="0" err="1"/>
              <a:t>equal</a:t>
            </a:r>
            <a:r>
              <a:rPr lang="es-CL" sz="1400" kern="0" dirty="0"/>
              <a:t> </a:t>
            </a:r>
            <a:r>
              <a:rPr lang="es-CL" sz="1400" kern="0" dirty="0" err="1"/>
              <a:t>probability</a:t>
            </a:r>
            <a:r>
              <a:rPr lang="es-CL" sz="1400" kern="0" dirty="0"/>
              <a:t> </a:t>
            </a:r>
            <a:r>
              <a:rPr lang="es-CL" sz="1400" kern="0" dirty="0" err="1"/>
              <a:t>node</a:t>
            </a:r>
            <a:r>
              <a:rPr lang="es-CL" sz="1400" kern="0" dirty="0"/>
              <a:t>) in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2733281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3" y="1838779"/>
            <a:ext cx="6362700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3" y="3606800"/>
            <a:ext cx="78105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73906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FC94083-1FFD-4584-9977-A886A6D92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85" y="1613552"/>
            <a:ext cx="8582025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8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4C67ADC-815B-4148-B354-044D9836BF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585" y="1428151"/>
            <a:ext cx="7717648" cy="258208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E89609BE-5F31-4E4E-907C-8F134052E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585" y="4140589"/>
            <a:ext cx="4154365" cy="2028230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5EE70461-2823-4EF0-9906-8CCB64FE0B76}"/>
              </a:ext>
            </a:extLst>
          </p:cNvPr>
          <p:cNvSpPr/>
          <p:nvPr/>
        </p:nvSpPr>
        <p:spPr bwMode="auto">
          <a:xfrm>
            <a:off x="5145153" y="4143969"/>
            <a:ext cx="3287128" cy="20282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s-CL" sz="1200" kern="0" dirty="0" err="1"/>
              <a:t>Accurac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Error </a:t>
            </a:r>
            <a:r>
              <a:rPr lang="es-CL" sz="1200" kern="0" dirty="0" err="1"/>
              <a:t>Rat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/>
              <a:t>Positive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ensitivity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Negative</a:t>
            </a:r>
            <a:r>
              <a:rPr lang="es-CL" sz="1200" kern="0" dirty="0"/>
              <a:t> </a:t>
            </a:r>
            <a:r>
              <a:rPr lang="es-CL" sz="1200" kern="0" dirty="0" err="1"/>
              <a:t>Predicted</a:t>
            </a:r>
            <a:r>
              <a:rPr lang="es-CL" sz="1200" kern="0" dirty="0"/>
              <a:t> </a:t>
            </a:r>
            <a:r>
              <a:rPr lang="es-CL" sz="1200" kern="0" dirty="0" err="1"/>
              <a:t>Value</a:t>
            </a:r>
            <a:r>
              <a:rPr lang="es-CL" sz="1200" kern="0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es-CL" sz="1200" kern="0" dirty="0" err="1"/>
              <a:t>Specificity</a:t>
            </a:r>
            <a:r>
              <a:rPr lang="es-CL" sz="1200" kern="0" dirty="0"/>
              <a:t>?</a:t>
            </a:r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75382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8978DD9-894B-4F27-8C11-E80C94482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224" y="1301553"/>
            <a:ext cx="8068895" cy="4881867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67DE89A-8334-4B82-A26D-72EBCD35B4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" y="2068190"/>
            <a:ext cx="4451685" cy="318961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C13C51B4-1207-4F49-98AB-DD2213C2D6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1016" y="2068190"/>
            <a:ext cx="4451685" cy="318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61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2"/>
          </p:nvPr>
        </p:nvSpPr>
        <p:spPr>
          <a:xfrm>
            <a:off x="539556" y="1429643"/>
            <a:ext cx="7892727" cy="1846957"/>
          </a:xfrm>
        </p:spPr>
        <p:txBody>
          <a:bodyPr>
            <a:normAutofit/>
          </a:bodyPr>
          <a:lstStyle/>
          <a:p>
            <a:r>
              <a:rPr lang="en-US" sz="1600" dirty="0"/>
              <a:t>Data in real world hardly appears clear and homogeneous. Typically, they tend to be incomplete, noisy, and inconsistent. How to solve that problem?</a:t>
            </a:r>
          </a:p>
          <a:p>
            <a:r>
              <a:rPr lang="en-US" sz="1600" dirty="0"/>
              <a:t> Today we will work on how to preprocess numerical variables and categorical variables inside a dataset to prepare it for a machine learning algorithm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4345046"/>
            <a:ext cx="2857500" cy="1600200"/>
          </a:xfrm>
          <a:prstGeom prst="rect">
            <a:avLst/>
          </a:prstGeom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50" y="2699992"/>
            <a:ext cx="2466975" cy="210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422" y="2971800"/>
            <a:ext cx="2037864" cy="1349693"/>
          </a:xfrm>
          <a:prstGeom prst="rect">
            <a:avLst/>
          </a:prstGeom>
        </p:spPr>
      </p:pic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EE2653"/>
                </a:solidFill>
                <a:latin typeface="Arial" panose="020B0604020202020204"/>
              </a:rPr>
              <a:t>Data Preprocess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00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Random Fore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015" y="1230465"/>
            <a:ext cx="4134029" cy="1059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4" y="2290064"/>
            <a:ext cx="42672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Pick at </a:t>
            </a:r>
            <a:r>
              <a:rPr lang="es-CL" sz="1400" kern="0" dirty="0" err="1"/>
              <a:t>random</a:t>
            </a:r>
            <a:r>
              <a:rPr lang="es-CL" sz="1400" kern="0" dirty="0"/>
              <a:t> K data </a:t>
            </a:r>
            <a:r>
              <a:rPr lang="es-CL" sz="1400" kern="0" dirty="0" err="1"/>
              <a:t>points</a:t>
            </a:r>
            <a:r>
              <a:rPr lang="es-CL" sz="1400" kern="0" dirty="0"/>
              <a:t> </a:t>
            </a:r>
            <a:r>
              <a:rPr lang="es-CL" sz="1400" kern="0" dirty="0" err="1"/>
              <a:t>from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training set</a:t>
            </a:r>
            <a:endParaRPr lang="en-US" sz="1400" kern="0" dirty="0"/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7271" y="2129135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3" y="3198144"/>
            <a:ext cx="548996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Build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 </a:t>
            </a:r>
            <a:r>
              <a:rPr lang="es-CL" sz="1400" kern="0" dirty="0" err="1"/>
              <a:t>associated</a:t>
            </a:r>
            <a:r>
              <a:rPr lang="es-CL" sz="1400" kern="0" dirty="0"/>
              <a:t> to </a:t>
            </a:r>
            <a:r>
              <a:rPr lang="es-CL" sz="1400" kern="0" dirty="0" err="1"/>
              <a:t>these</a:t>
            </a:r>
            <a:r>
              <a:rPr lang="es-CL" sz="1400" kern="0" dirty="0"/>
              <a:t> K data </a:t>
            </a:r>
            <a:r>
              <a:rPr lang="es-CL" sz="1400" kern="0" dirty="0" err="1"/>
              <a:t>points</a:t>
            </a:r>
            <a:endParaRPr lang="en-US" sz="1400" kern="0" dirty="0"/>
          </a:p>
        </p:txBody>
      </p:sp>
      <p:sp>
        <p:nvSpPr>
          <p:cNvPr id="18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3561" y="3047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77253" y="4056387"/>
            <a:ext cx="644281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Choose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number</a:t>
            </a:r>
            <a:r>
              <a:rPr lang="es-CL" sz="1400" kern="0" dirty="0"/>
              <a:t> of </a:t>
            </a:r>
            <a:r>
              <a:rPr lang="es-CL" sz="1400" kern="0" dirty="0" err="1"/>
              <a:t>trees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want</a:t>
            </a:r>
            <a:r>
              <a:rPr lang="es-CL" sz="1400" kern="0" dirty="0"/>
              <a:t> to </a:t>
            </a:r>
            <a:r>
              <a:rPr lang="es-CL" sz="1400" kern="0" dirty="0" err="1"/>
              <a:t>build</a:t>
            </a:r>
            <a:r>
              <a:rPr lang="es-CL" sz="1400" kern="0" dirty="0"/>
              <a:t> and </a:t>
            </a:r>
            <a:r>
              <a:rPr lang="es-CL" sz="1400" kern="0" dirty="0" err="1"/>
              <a:t>repeat</a:t>
            </a:r>
            <a:r>
              <a:rPr lang="es-CL" sz="1400" kern="0" dirty="0"/>
              <a:t> </a:t>
            </a:r>
            <a:r>
              <a:rPr lang="es-CL" sz="1400" kern="0" dirty="0" err="1"/>
              <a:t>steps</a:t>
            </a:r>
            <a:r>
              <a:rPr lang="es-CL" sz="1400" kern="0" dirty="0"/>
              <a:t> 1 and 2.</a:t>
            </a:r>
            <a:endParaRPr lang="en-US" sz="1400" kern="0" dirty="0"/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3561" y="390582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83098" y="4991930"/>
            <a:ext cx="7851301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For</a:t>
            </a:r>
            <a:r>
              <a:rPr lang="es-CL" sz="1400" kern="0" dirty="0"/>
              <a:t> a new data </a:t>
            </a:r>
            <a:r>
              <a:rPr lang="es-CL" sz="1400" kern="0" dirty="0" err="1"/>
              <a:t>point</a:t>
            </a:r>
            <a:r>
              <a:rPr lang="es-CL" sz="1400" kern="0" dirty="0"/>
              <a:t>, </a:t>
            </a:r>
            <a:r>
              <a:rPr lang="es-CL" sz="1400" kern="0" dirty="0" err="1"/>
              <a:t>make</a:t>
            </a:r>
            <a:r>
              <a:rPr lang="es-CL" sz="1400" kern="0" dirty="0"/>
              <a:t> </a:t>
            </a:r>
            <a:r>
              <a:rPr lang="es-CL" sz="1400" kern="0" dirty="0" err="1"/>
              <a:t>every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 </a:t>
            </a:r>
            <a:r>
              <a:rPr lang="es-CL" sz="1400" kern="0" dirty="0" err="1"/>
              <a:t>predict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ategory</a:t>
            </a:r>
            <a:r>
              <a:rPr lang="es-CL" sz="1400" kern="0" dirty="0"/>
              <a:t> to </a:t>
            </a:r>
            <a:r>
              <a:rPr lang="es-CL" sz="1400" kern="0" dirty="0" err="1"/>
              <a:t>whic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data </a:t>
            </a:r>
            <a:r>
              <a:rPr lang="es-CL" sz="1400" kern="0" dirty="0" err="1"/>
              <a:t>point</a:t>
            </a:r>
            <a:r>
              <a:rPr lang="es-CL" sz="1400" kern="0" dirty="0"/>
              <a:t> </a:t>
            </a:r>
            <a:r>
              <a:rPr lang="es-CL" sz="1400" kern="0" dirty="0" err="1"/>
              <a:t>belongs</a:t>
            </a:r>
            <a:r>
              <a:rPr lang="es-CL" sz="1400" kern="0" dirty="0"/>
              <a:t>, and </a:t>
            </a:r>
            <a:r>
              <a:rPr lang="es-CL" sz="1400" kern="0" dirty="0" err="1"/>
              <a:t>assig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new data </a:t>
            </a:r>
            <a:r>
              <a:rPr lang="es-CL" sz="1400" kern="0" dirty="0" err="1"/>
              <a:t>point</a:t>
            </a:r>
            <a:r>
              <a:rPr lang="es-CL" sz="1400" kern="0" dirty="0"/>
              <a:t> to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ategory</a:t>
            </a:r>
            <a:r>
              <a:rPr lang="es-CL" sz="1400" kern="0" dirty="0"/>
              <a:t> </a:t>
            </a:r>
            <a:r>
              <a:rPr lang="es-CL" sz="1400" kern="0" dirty="0" err="1"/>
              <a:t>that</a:t>
            </a:r>
            <a:r>
              <a:rPr lang="es-CL" sz="1400" kern="0" dirty="0"/>
              <a:t> </a:t>
            </a:r>
            <a:r>
              <a:rPr lang="es-CL" sz="1400" kern="0" dirty="0" err="1"/>
              <a:t>wins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majority</a:t>
            </a:r>
            <a:r>
              <a:rPr lang="es-CL" sz="1400" kern="0" dirty="0"/>
              <a:t> vote</a:t>
            </a:r>
            <a:endParaRPr lang="en-US" sz="1400" kern="0" dirty="0"/>
          </a:p>
        </p:txBody>
      </p:sp>
      <p:sp>
        <p:nvSpPr>
          <p:cNvPr id="2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0" y="4724400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6597621" y="2349005"/>
            <a:ext cx="2339410" cy="15568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Random</a:t>
            </a:r>
            <a:r>
              <a:rPr lang="es-CL" sz="1400" kern="0" dirty="0"/>
              <a:t> </a:t>
            </a:r>
            <a:r>
              <a:rPr lang="es-CL" sz="1400" kern="0" dirty="0" err="1"/>
              <a:t>Forests</a:t>
            </a:r>
            <a:r>
              <a:rPr lang="es-CL" sz="1400" kern="0" dirty="0"/>
              <a:t>, in </a:t>
            </a:r>
            <a:r>
              <a:rPr lang="es-CL" sz="1400" kern="0" dirty="0" err="1"/>
              <a:t>average</a:t>
            </a:r>
            <a:r>
              <a:rPr lang="es-CL" sz="1400" kern="0" dirty="0"/>
              <a:t>, can </a:t>
            </a:r>
            <a:r>
              <a:rPr lang="es-CL" sz="1400" kern="0" dirty="0" err="1"/>
              <a:t>perform</a:t>
            </a:r>
            <a:r>
              <a:rPr lang="es-CL" sz="1400" kern="0" dirty="0"/>
              <a:t> </a:t>
            </a:r>
            <a:r>
              <a:rPr lang="es-CL" sz="1400" kern="0" dirty="0" err="1"/>
              <a:t>very</a:t>
            </a:r>
            <a:r>
              <a:rPr lang="es-CL" sz="1400" kern="0" dirty="0"/>
              <a:t> </a:t>
            </a:r>
            <a:r>
              <a:rPr lang="es-CL" sz="1400" kern="0" dirty="0" err="1"/>
              <a:t>well</a:t>
            </a:r>
            <a:r>
              <a:rPr lang="es-CL" sz="1400" kern="0" dirty="0"/>
              <a:t>, </a:t>
            </a:r>
            <a:r>
              <a:rPr lang="es-CL" sz="1400" kern="0" dirty="0" err="1"/>
              <a:t>leveraging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ower</a:t>
            </a:r>
            <a:r>
              <a:rPr lang="es-CL" sz="1400" kern="0" dirty="0"/>
              <a:t> of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crowd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817365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3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DC9AA11-7573-4A26-9980-FEFD207BE1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7" y="1343025"/>
            <a:ext cx="8429625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5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C116925-3391-4506-B333-E331078DDC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4" y="1496961"/>
            <a:ext cx="8072469" cy="223684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B449CC7-DB48-4097-84F2-B0B1C40FB9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4191000"/>
            <a:ext cx="3965895" cy="1562769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2B5960BD-2CE7-40E9-B3C4-A1AC527DEC8F}"/>
              </a:ext>
            </a:extLst>
          </p:cNvPr>
          <p:cNvSpPr/>
          <p:nvPr/>
        </p:nvSpPr>
        <p:spPr bwMode="auto">
          <a:xfrm>
            <a:off x="4794445" y="4466253"/>
            <a:ext cx="3817577" cy="86523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s-CL" sz="1400" kern="0" dirty="0"/>
          </a:p>
          <a:p>
            <a:r>
              <a:rPr lang="es-CL" sz="1400" kern="0" dirty="0"/>
              <a:t>Is </a:t>
            </a:r>
            <a:r>
              <a:rPr lang="es-CL" sz="1400" kern="0" dirty="0" err="1"/>
              <a:t>it</a:t>
            </a:r>
            <a:r>
              <a:rPr lang="es-CL" sz="1400" kern="0" dirty="0"/>
              <a:t> </a:t>
            </a:r>
            <a:r>
              <a:rPr lang="es-CL" sz="1400" kern="0" dirty="0" err="1"/>
              <a:t>better</a:t>
            </a:r>
            <a:r>
              <a:rPr lang="es-CL" sz="1400" kern="0" dirty="0"/>
              <a:t> </a:t>
            </a:r>
            <a:r>
              <a:rPr lang="es-CL" sz="1400" kern="0" dirty="0" err="1"/>
              <a:t>or</a:t>
            </a:r>
            <a:r>
              <a:rPr lang="es-CL" sz="1400" kern="0" dirty="0"/>
              <a:t> </a:t>
            </a:r>
            <a:r>
              <a:rPr lang="es-CL" sz="1400" kern="0" dirty="0" err="1"/>
              <a:t>worst</a:t>
            </a:r>
            <a:r>
              <a:rPr lang="es-CL" sz="1400" kern="0" dirty="0"/>
              <a:t> </a:t>
            </a:r>
            <a:r>
              <a:rPr lang="es-CL" sz="1400" kern="0" dirty="0" err="1"/>
              <a:t>than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Decision</a:t>
            </a:r>
            <a:r>
              <a:rPr lang="es-CL" sz="1400" kern="0" dirty="0"/>
              <a:t> </a:t>
            </a:r>
            <a:r>
              <a:rPr lang="es-CL" sz="1400" kern="0" dirty="0" err="1"/>
              <a:t>Tre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05010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FED038E-C0FA-472D-A39A-6A3E98492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59" y="1229271"/>
            <a:ext cx="8072469" cy="493651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73441EE6-B0C2-48C3-A2BF-EB5F018C47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6" y="1925103"/>
            <a:ext cx="4651391" cy="33326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EC10632-E40D-4631-BAE3-D494BD5173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8065" y="1920438"/>
            <a:ext cx="4419600" cy="333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0239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2AE3B12E-BC7C-4A21-A96C-4CA9E0E76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ow to build a model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68E319B-299B-485A-8D92-8094AD1BF5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82" y="1784370"/>
            <a:ext cx="7772400" cy="328926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F3A756D-CA4B-4400-9101-167C8F724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4123"/>
            <a:ext cx="9022081" cy="308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8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Backward</a:t>
            </a:r>
            <a:r>
              <a:rPr lang="es-CL" dirty="0"/>
              <a:t> </a:t>
            </a:r>
            <a:r>
              <a:rPr lang="es-CL" dirty="0" err="1"/>
              <a:t>Elimina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maintain the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 all the predictors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highest</a:t>
            </a:r>
            <a:r>
              <a:rPr lang="en-US" sz="1600" kern="0" dirty="0"/>
              <a:t> P-value. Only if P-value is over SL, go to step 4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2514600" y="45957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3124200" y="4690683"/>
            <a:ext cx="22860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Remove the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A95FEC81-75AF-4883-8E17-475CEEA6F713}"/>
              </a:ext>
            </a:extLst>
          </p:cNvPr>
          <p:cNvSpPr/>
          <p:nvPr/>
        </p:nvSpPr>
        <p:spPr bwMode="auto">
          <a:xfrm>
            <a:off x="3788617" y="525730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F7BBFD22-3D19-4965-8D31-78090698CEEA}"/>
              </a:ext>
            </a:extLst>
          </p:cNvPr>
          <p:cNvSpPr/>
          <p:nvPr/>
        </p:nvSpPr>
        <p:spPr bwMode="auto">
          <a:xfrm>
            <a:off x="2628157" y="5684117"/>
            <a:ext cx="3429002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out the variable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1801B0B1-0FC1-407E-9046-4E5DAC840BC6}"/>
              </a:ext>
            </a:extLst>
          </p:cNvPr>
          <p:cNvSpPr/>
          <p:nvPr/>
        </p:nvSpPr>
        <p:spPr>
          <a:xfrm>
            <a:off x="2133600" y="5550976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5</a:t>
            </a:r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155025" flipV="1">
            <a:off x="1194006" y="4199175"/>
            <a:ext cx="326181" cy="1590889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261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0" grpId="0" animBg="1"/>
      <p:bldP spid="21" grpId="0" animBg="1"/>
      <p:bldP spid="22" grpId="0"/>
      <p:bldP spid="27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/>
              <a:t>Forward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enter a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7696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all Simple Linear Regression Models and select the one with the lowest P-value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Keep this variable and fit all the possible models with one extra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57568" y="48175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107443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lowest</a:t>
            </a:r>
            <a:r>
              <a:rPr lang="en-US" sz="1600" kern="0" dirty="0"/>
              <a:t> P-value. Only if P-value is under SL, go to step 3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439525" flipV="1">
            <a:off x="773552" y="4063319"/>
            <a:ext cx="362087" cy="95060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6493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Stepwise</a:t>
            </a:r>
            <a:r>
              <a:rPr lang="es-CL" dirty="0"/>
              <a:t>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6553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L to enter a variable in the model and also a SL to stay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599" y="2458764"/>
            <a:ext cx="7845257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the next step of forward selection (New variables will need a P-Value &lt; SL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1651300" y="3447363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2422456" y="3419323"/>
            <a:ext cx="4821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all the steps of Backward Elimination (Old variables will need a P-Value &gt; SL to stay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74018" y="4664431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6463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No new variables can enter and no old variables can exit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8328025" flipV="1">
            <a:off x="977287" y="2877391"/>
            <a:ext cx="261731" cy="954398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68BEC879-D26E-4EE8-8571-D63E3CBEF2DA}"/>
              </a:ext>
            </a:extLst>
          </p:cNvPr>
          <p:cNvSpPr/>
          <p:nvPr/>
        </p:nvSpPr>
        <p:spPr bwMode="auto">
          <a:xfrm>
            <a:off x="3800454" y="544073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4556BC6-CC6B-4EB3-8F90-34B6D52790FF}"/>
              </a:ext>
            </a:extLst>
          </p:cNvPr>
          <p:cNvSpPr/>
          <p:nvPr/>
        </p:nvSpPr>
        <p:spPr bwMode="auto">
          <a:xfrm>
            <a:off x="2835590" y="5782349"/>
            <a:ext cx="2253617" cy="51384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he model is read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4E2CC-4870-4337-8C9F-FAADB2E27BDD}"/>
              </a:ext>
            </a:extLst>
          </p:cNvPr>
          <p:cNvSpPr/>
          <p:nvPr/>
        </p:nvSpPr>
        <p:spPr>
          <a:xfrm>
            <a:off x="322569" y="1317945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530557A9-07CB-4A8A-BA6E-89840BDE5569}"/>
              </a:ext>
            </a:extLst>
          </p:cNvPr>
          <p:cNvSpPr/>
          <p:nvPr/>
        </p:nvSpPr>
        <p:spPr bwMode="auto">
          <a:xfrm>
            <a:off x="5436185" y="5513238"/>
            <a:ext cx="3200400" cy="72875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What is AIC?</a:t>
            </a:r>
          </a:p>
          <a:p>
            <a:pPr algn="just"/>
            <a:r>
              <a:rPr lang="en-US" sz="1600" kern="0" dirty="0"/>
              <a:t>And BIC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8998964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  <p:bldP spid="20" grpId="0" animBg="1"/>
      <p:bldP spid="21" grpId="0" animBg="1"/>
      <p:bldP spid="22" grpId="0"/>
      <p:bldP spid="23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5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2"/>
          </p:nvPr>
        </p:nvSpPr>
        <p:spPr>
          <a:xfrm>
            <a:off x="539556" y="1429643"/>
            <a:ext cx="7876475" cy="1103287"/>
          </a:xfrm>
        </p:spPr>
        <p:txBody>
          <a:bodyPr>
            <a:norm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In the Python tutorials, there is required a basic understanding of some concepts, as this is an Object-Oriented programming language. The concepts are classes, objects and methods.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Introduction</a:t>
            </a:r>
            <a:endParaRPr lang="es-CL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Python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Learner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362" name="Picture 2" descr="Image result for house construction plans">
            <a:extLst>
              <a:ext uri="{FF2B5EF4-FFF2-40B4-BE49-F238E27FC236}">
                <a16:creationId xmlns:a16="http://schemas.microsoft.com/office/drawing/2014/main" id="{BA046BF5-94F4-4C43-8A48-C0C6F93D6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063156"/>
            <a:ext cx="1905000" cy="1365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4C31F290-F919-46C4-8971-A9752B080EBB}"/>
              </a:ext>
            </a:extLst>
          </p:cNvPr>
          <p:cNvSpPr txBox="1"/>
          <p:nvPr/>
        </p:nvSpPr>
        <p:spPr>
          <a:xfrm>
            <a:off x="457200" y="2502890"/>
            <a:ext cx="541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 class is the model of something we want to build (a house construction plan, for example).  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0CA50BD-9752-4878-AF4E-A6804E8FFEC3}"/>
              </a:ext>
            </a:extLst>
          </p:cNvPr>
          <p:cNvSpPr txBox="1"/>
          <p:nvPr/>
        </p:nvSpPr>
        <p:spPr>
          <a:xfrm>
            <a:off x="457200" y="3533171"/>
            <a:ext cx="42521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 Object is described as an instance of the Class, as it follows its instructions. So then, can we have many objects from the same Class?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pic>
        <p:nvPicPr>
          <p:cNvPr id="15364" name="Picture 4" descr="Image result for house">
            <a:extLst>
              <a:ext uri="{FF2B5EF4-FFF2-40B4-BE49-F238E27FC236}">
                <a16:creationId xmlns:a16="http://schemas.microsoft.com/office/drawing/2014/main" id="{30525793-65FB-4E63-B50B-D65DDF673D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61" y="3490190"/>
            <a:ext cx="1637620" cy="108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A54264E8-EFD6-4B5A-923F-760728390A6E}"/>
              </a:ext>
            </a:extLst>
          </p:cNvPr>
          <p:cNvSpPr txBox="1"/>
          <p:nvPr/>
        </p:nvSpPr>
        <p:spPr>
          <a:xfrm>
            <a:off x="457200" y="4719052"/>
            <a:ext cx="48006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 method is a tool we can use in an object to complete a specific action (open the main door of the house when a guess is coming). Also, it can be seen as a function that is applied onto the object, get a specific item and return something else.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pic>
        <p:nvPicPr>
          <p:cNvPr id="15366" name="Picture 6" descr="Image result for open a door">
            <a:extLst>
              <a:ext uri="{FF2B5EF4-FFF2-40B4-BE49-F238E27FC236}">
                <a16:creationId xmlns:a16="http://schemas.microsoft.com/office/drawing/2014/main" id="{8B64B6CC-8318-43EB-93D5-935FB7342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99" y="4750144"/>
            <a:ext cx="1675585" cy="1255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librar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 dirty="0"/>
              <a:t> /  evalueserve.co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295A3F4-6A5A-40B8-8BA6-68B6CE7A0A89}"/>
              </a:ext>
            </a:extLst>
          </p:cNvPr>
          <p:cNvSpPr txBox="1">
            <a:spLocks/>
          </p:cNvSpPr>
          <p:nvPr/>
        </p:nvSpPr>
        <p:spPr>
          <a:xfrm>
            <a:off x="544880" y="1349756"/>
            <a:ext cx="3644901" cy="762000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kern="0" dirty="0"/>
              <a:t>We’ll need the following libraries:</a:t>
            </a:r>
          </a:p>
          <a:p>
            <a:r>
              <a:rPr lang="en-US" kern="0" dirty="0"/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F408F4-5A44-4431-B3C8-7D34024ABD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0800" y="4489988"/>
            <a:ext cx="3962400" cy="1599528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9F0AFD-BD4B-4582-90B9-DF91F7454748}"/>
              </a:ext>
            </a:extLst>
          </p:cNvPr>
          <p:cNvSpPr/>
          <p:nvPr/>
        </p:nvSpPr>
        <p:spPr bwMode="auto">
          <a:xfrm>
            <a:off x="539554" y="2111756"/>
            <a:ext cx="6678058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</p:spTree>
    <p:extLst>
      <p:ext uri="{BB962C8B-B14F-4D97-AF65-F5344CB8AC3E}">
        <p14:creationId xmlns:p14="http://schemas.microsoft.com/office/powerpoint/2010/main" val="29271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Dataset</a:t>
            </a:r>
            <a:br>
              <a:rPr lang="en-US" dirty="0">
                <a:solidFill>
                  <a:srgbClr val="EE2653"/>
                </a:solidFill>
              </a:rPr>
            </a:br>
            <a:endParaRPr lang="en-US" dirty="0">
              <a:solidFill>
                <a:srgbClr val="EE2653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82CFE30-5B1A-4DBB-AEC2-9E53599CE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5395" y="3690112"/>
            <a:ext cx="3195033" cy="254793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572A035-D5C5-44E1-A325-17D7D683B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4600" y="2668617"/>
            <a:ext cx="3476625" cy="885825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7311ED9-7934-423A-B631-9DC2BD27E7D4}"/>
              </a:ext>
            </a:extLst>
          </p:cNvPr>
          <p:cNvSpPr txBox="1">
            <a:spLocks/>
          </p:cNvSpPr>
          <p:nvPr/>
        </p:nvSpPr>
        <p:spPr>
          <a:xfrm>
            <a:off x="539554" y="1142999"/>
            <a:ext cx="8072470" cy="1676401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7695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400960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604225" indent="-19908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801920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999616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426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480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399534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en-US" sz="1400" kern="0" dirty="0"/>
              <a:t>For python, 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65515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638" y="488258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Missing data: Numer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0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60A9010-5936-4598-A0BF-805BC8E6C1EB}"/>
              </a:ext>
            </a:extLst>
          </p:cNvPr>
          <p:cNvSpPr/>
          <p:nvPr/>
        </p:nvSpPr>
        <p:spPr bwMode="auto">
          <a:xfrm>
            <a:off x="973872" y="3551051"/>
            <a:ext cx="6465520" cy="27051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r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las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ow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ak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a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f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missing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data in a simple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a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ea typeface="Verdana" pitchFamily="34" charset="0"/>
                <a:cs typeface="Verdana" pitchFamily="34" charset="0"/>
              </a:rPr>
              <a:t>In Spyder , use CTRL+I to open the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bjec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spector and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stud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the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parameter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h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e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no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olumn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ampl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?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ith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Python,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pper-boun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clud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doe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mean?</a:t>
            </a:r>
            <a:endParaRPr lang="en-US" sz="1400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6CA360D-4213-48C0-8A14-7FC4E50A9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556" y="2062643"/>
            <a:ext cx="5720152" cy="1334981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4FFA9E7-58EE-4B7F-8B9C-55E06E781A13}"/>
              </a:ext>
            </a:extLst>
          </p:cNvPr>
          <p:cNvSpPr txBox="1">
            <a:spLocks/>
          </p:cNvSpPr>
          <p:nvPr/>
        </p:nvSpPr>
        <p:spPr>
          <a:xfrm>
            <a:off x="544880" y="1232581"/>
            <a:ext cx="7323505" cy="1088222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/>
              <a:t>In Python,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sklearn</a:t>
            </a:r>
            <a:r>
              <a:rPr lang="es-CL" sz="1400" kern="0" dirty="0"/>
              <a:t> </a:t>
            </a:r>
            <a:r>
              <a:rPr lang="es-CL" sz="1400" kern="0" dirty="0" err="1"/>
              <a:t>library</a:t>
            </a:r>
            <a:r>
              <a:rPr lang="es-CL" sz="1400" kern="0" dirty="0"/>
              <a:t> </a:t>
            </a:r>
            <a:r>
              <a:rPr lang="es-CL" sz="1400" kern="0" dirty="0" err="1"/>
              <a:t>is</a:t>
            </a:r>
            <a:r>
              <a:rPr lang="es-CL" sz="1400" kern="0" dirty="0"/>
              <a:t> a </a:t>
            </a:r>
            <a:r>
              <a:rPr lang="es-CL" sz="1400" kern="0" dirty="0" err="1"/>
              <a:t>known</a:t>
            </a:r>
            <a:r>
              <a:rPr lang="es-CL" sz="1400" kern="0" dirty="0"/>
              <a:t> </a:t>
            </a:r>
            <a:r>
              <a:rPr lang="es-CL" sz="1400" kern="0" dirty="0" err="1"/>
              <a:t>tool</a:t>
            </a:r>
            <a:r>
              <a:rPr lang="es-CL" sz="1400" kern="0" dirty="0"/>
              <a:t> </a:t>
            </a:r>
            <a:r>
              <a:rPr lang="es-CL" sz="1400" kern="0" dirty="0" err="1"/>
              <a:t>for</a:t>
            </a:r>
            <a:r>
              <a:rPr lang="es-CL" sz="1400" kern="0" dirty="0"/>
              <a:t> </a:t>
            </a:r>
            <a:r>
              <a:rPr lang="es-CL" sz="1400" kern="0" dirty="0" err="1"/>
              <a:t>working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ML </a:t>
            </a:r>
            <a:r>
              <a:rPr lang="es-CL" sz="1400" kern="0" dirty="0" err="1"/>
              <a:t>techniques</a:t>
            </a:r>
            <a:r>
              <a:rPr lang="es-CL" sz="1400" kern="0" dirty="0"/>
              <a:t>, </a:t>
            </a:r>
            <a:r>
              <a:rPr lang="es-CL" sz="1400" kern="0" dirty="0" err="1"/>
              <a:t>including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eprocessing</a:t>
            </a:r>
            <a:r>
              <a:rPr lang="es-CL" sz="1400" kern="0" dirty="0"/>
              <a:t> </a:t>
            </a:r>
            <a:r>
              <a:rPr lang="es-CL" sz="1400" kern="0" dirty="0" err="1"/>
              <a:t>steps</a:t>
            </a:r>
            <a:r>
              <a:rPr lang="es-CL" sz="1400" kern="0" dirty="0"/>
              <a:t>.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74525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7845</TotalTime>
  <Words>3004</Words>
  <Application>Microsoft Office PowerPoint</Application>
  <PresentationFormat>Presentación en pantalla (4:3)</PresentationFormat>
  <Paragraphs>561</Paragraphs>
  <Slides>5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8</vt:i4>
      </vt:variant>
    </vt:vector>
  </HeadingPairs>
  <TitlesOfParts>
    <vt:vector size="67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 Machine Learning: Using Python for Data Science</vt:lpstr>
      <vt:lpstr>Contents</vt:lpstr>
      <vt:lpstr>Presentación de PowerPoint</vt:lpstr>
      <vt:lpstr>Data Preprocessing </vt:lpstr>
      <vt:lpstr>Presentación de PowerPoint</vt:lpstr>
      <vt:lpstr>Presentación de PowerPoint</vt:lpstr>
      <vt:lpstr>Importing the libraries</vt:lpstr>
      <vt:lpstr>Importing the Dataset </vt:lpstr>
      <vt:lpstr>Missing data: Numeric</vt:lpstr>
      <vt:lpstr>Categorical data </vt:lpstr>
      <vt:lpstr>Splitting the dataset </vt:lpstr>
      <vt:lpstr>Feature Scaling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lustering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Hierarchical Clustering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ecision Trees and Random Forest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andom Forest</vt:lpstr>
      <vt:lpstr>Presentación de PowerPoint</vt:lpstr>
      <vt:lpstr>Presentación de PowerPoint</vt:lpstr>
      <vt:lpstr>Presentación de PowerPoint</vt:lpstr>
      <vt:lpstr>How to build a model?</vt:lpstr>
      <vt:lpstr>Backward Elimination</vt:lpstr>
      <vt:lpstr>Forward Selection</vt:lpstr>
      <vt:lpstr>Stepwise Selection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énez</cp:lastModifiedBy>
  <cp:revision>163</cp:revision>
  <dcterms:created xsi:type="dcterms:W3CDTF">2015-08-27T23:57:25Z</dcterms:created>
  <dcterms:modified xsi:type="dcterms:W3CDTF">2020-01-02T05:33:23Z</dcterms:modified>
</cp:coreProperties>
</file>